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1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2.xml" ContentType="application/vnd.openxmlformats-officedocument.drawingml.chart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charts/chart3.xml" ContentType="application/vnd.openxmlformats-officedocument.drawingml.chart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charts/chart4.xml" ContentType="application/vnd.openxmlformats-officedocument.drawingml.chart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charts/chart9.xml" ContentType="application/vnd.openxmlformats-officedocument.drawingml.chart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charts/chart10.xml" ContentType="application/vnd.openxmlformats-officedocument.drawingml.chart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charts/chart11.xml" ContentType="application/vnd.openxmlformats-officedocument.drawingml.chart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charts/chart12.xml" ContentType="application/vnd.openxmlformats-officedocument.drawingml.chart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charts/chart13.xml" ContentType="application/vnd.openxmlformats-officedocument.drawingml.chart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charts/chart14.xml" ContentType="application/vnd.openxmlformats-officedocument.drawingml.chart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charts/chart15.xml" ContentType="application/vnd.openxmlformats-officedocument.drawingml.chart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charts/chart16.xml" ContentType="application/vnd.openxmlformats-officedocument.drawingml.chart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charts/chart17.xml" ContentType="application/vnd.openxmlformats-officedocument.drawingml.chart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charts/chart18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26"/>
  </p:notesMasterIdLst>
  <p:sldIdLst>
    <p:sldId id="256" r:id="rId2"/>
    <p:sldId id="257" r:id="rId3"/>
    <p:sldId id="285" r:id="rId4"/>
    <p:sldId id="286" r:id="rId5"/>
    <p:sldId id="279" r:id="rId6"/>
    <p:sldId id="300" r:id="rId7"/>
    <p:sldId id="301" r:id="rId8"/>
    <p:sldId id="280" r:id="rId9"/>
    <p:sldId id="281" r:id="rId10"/>
    <p:sldId id="282" r:id="rId11"/>
    <p:sldId id="283" r:id="rId12"/>
    <p:sldId id="284" r:id="rId13"/>
    <p:sldId id="288" r:id="rId14"/>
    <p:sldId id="287" r:id="rId15"/>
    <p:sldId id="302" r:id="rId16"/>
    <p:sldId id="290" r:id="rId17"/>
    <p:sldId id="295" r:id="rId18"/>
    <p:sldId id="294" r:id="rId19"/>
    <p:sldId id="297" r:id="rId20"/>
    <p:sldId id="298" r:id="rId21"/>
    <p:sldId id="296" r:id="rId22"/>
    <p:sldId id="299" r:id="rId23"/>
    <p:sldId id="262" r:id="rId24"/>
    <p:sldId id="263" r:id="rId25"/>
  </p:sldIdLst>
  <p:sldSz cx="12192000" cy="6858000"/>
  <p:notesSz cx="6858000" cy="9144000"/>
  <p:embeddedFontLst>
    <p:embeddedFont>
      <p:font typeface="Proxima Nova" panose="020B0604020202020204" charset="0"/>
      <p:regular r:id="rId27"/>
      <p:bold r:id="rId28"/>
      <p:italic r:id="rId29"/>
      <p:boldItalic r:id="rId30"/>
    </p:embeddedFont>
  </p:embeddedFontLst>
  <p:custDataLst>
    <p:tags r:id="rId3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139" userDrawn="1">
          <p15:clr>
            <a:srgbClr val="A4A3A4"/>
          </p15:clr>
        </p15:guide>
        <p15:guide id="2" pos="1958" userDrawn="1">
          <p15:clr>
            <a:srgbClr val="A4A3A4"/>
          </p15:clr>
        </p15:guide>
      </p15:sldGuideLst>
    </p:ext>
    <p:ext uri="GoogleSlidesCustomDataVersion2">
      <go:slidesCustomData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="" r:id="rId50" roundtripDataSignature="AMtx7mg6fnhCutI2GTcyokpv5tBn+OrzN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2B51"/>
    <a:srgbClr val="F093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03" autoAdjust="0"/>
    <p:restoredTop sz="94660"/>
  </p:normalViewPr>
  <p:slideViewPr>
    <p:cSldViewPr snapToGrid="0">
      <p:cViewPr varScale="1">
        <p:scale>
          <a:sx n="61" d="100"/>
          <a:sy n="61" d="100"/>
        </p:scale>
        <p:origin x="84" y="984"/>
      </p:cViewPr>
      <p:guideLst>
        <p:guide orient="horz" pos="1139"/>
        <p:guide pos="195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50" Type="http://customschemas.google.com/relationships/presentationmetadata" Target="metadata"/><Relationship Id="rId55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3.fntdata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2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1.fntdata"/><Relationship Id="rId30" Type="http://schemas.openxmlformats.org/officeDocument/2006/relationships/font" Target="fonts/font4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ğuz Öztekin" userId="33c0df0f-d5fe-4bda-8f43-141ad7af67e3" providerId="ADAL" clId="{18BFCD08-9838-4C62-912A-E59CEE905FD1}"/>
    <pc:docChg chg="undo custSel modSld">
      <pc:chgData name="Oğuz Öztekin" userId="33c0df0f-d5fe-4bda-8f43-141ad7af67e3" providerId="ADAL" clId="{18BFCD08-9838-4C62-912A-E59CEE905FD1}" dt="2024-12-17T08:37:36.847" v="27015" actId="1076"/>
      <pc:docMkLst>
        <pc:docMk/>
      </pc:docMkLst>
      <pc:sldChg chg="addSp modSp mod">
        <pc:chgData name="Oğuz Öztekin" userId="33c0df0f-d5fe-4bda-8f43-141ad7af67e3" providerId="ADAL" clId="{18BFCD08-9838-4C62-912A-E59CEE905FD1}" dt="2024-12-17T08:24:34.580" v="5252" actId="20577"/>
        <pc:sldMkLst>
          <pc:docMk/>
          <pc:sldMk cId="0" sldId="257"/>
        </pc:sldMkLst>
        <pc:spChg chg="mod">
          <ac:chgData name="Oğuz Öztekin" userId="33c0df0f-d5fe-4bda-8f43-141ad7af67e3" providerId="ADAL" clId="{18BFCD08-9838-4C62-912A-E59CEE905FD1}" dt="2024-12-17T08:20:12.706" v="7" actId="20577"/>
          <ac:spMkLst>
            <pc:docMk/>
            <pc:sldMk cId="0" sldId="257"/>
            <ac:spMk id="4" creationId="{32E6913F-B29A-099E-A738-7ED96DCE72A9}"/>
          </ac:spMkLst>
        </pc:spChg>
        <pc:spChg chg="mod">
          <ac:chgData name="Oğuz Öztekin" userId="33c0df0f-d5fe-4bda-8f43-141ad7af67e3" providerId="ADAL" clId="{18BFCD08-9838-4C62-912A-E59CEE905FD1}" dt="2024-12-17T08:20:10.874" v="6" actId="20577"/>
          <ac:spMkLst>
            <pc:docMk/>
            <pc:sldMk cId="0" sldId="257"/>
            <ac:spMk id="7" creationId="{896D15E7-BB90-4A37-3DF5-B74860808388}"/>
          </ac:spMkLst>
        </pc:spChg>
        <pc:spChg chg="mod">
          <ac:chgData name="Oğuz Öztekin" userId="33c0df0f-d5fe-4bda-8f43-141ad7af67e3" providerId="ADAL" clId="{18BFCD08-9838-4C62-912A-E59CEE905FD1}" dt="2024-12-17T08:20:07.941" v="5" actId="20577"/>
          <ac:spMkLst>
            <pc:docMk/>
            <pc:sldMk cId="0" sldId="257"/>
            <ac:spMk id="10" creationId="{2D3A8575-5F7F-F089-2FC2-9114FEA0A98B}"/>
          </ac:spMkLst>
        </pc:spChg>
        <pc:spChg chg="mod">
          <ac:chgData name="Oğuz Öztekin" userId="33c0df0f-d5fe-4bda-8f43-141ad7af67e3" providerId="ADAL" clId="{18BFCD08-9838-4C62-912A-E59CEE905FD1}" dt="2024-12-17T08:20:06.084" v="4" actId="20577"/>
          <ac:spMkLst>
            <pc:docMk/>
            <pc:sldMk cId="0" sldId="257"/>
            <ac:spMk id="13" creationId="{993E1443-C725-EB95-2DC0-BCE39F75E2CC}"/>
          </ac:spMkLst>
        </pc:spChg>
        <pc:spChg chg="mod">
          <ac:chgData name="Oğuz Öztekin" userId="33c0df0f-d5fe-4bda-8f43-141ad7af67e3" providerId="ADAL" clId="{18BFCD08-9838-4C62-912A-E59CEE905FD1}" dt="2024-12-17T08:20:19.088" v="8" actId="1076"/>
          <ac:spMkLst>
            <pc:docMk/>
            <pc:sldMk cId="0" sldId="257"/>
            <ac:spMk id="15" creationId="{46AFFBB4-2BA1-E17C-6D00-D224B0D5DFCF}"/>
          </ac:spMkLst>
        </pc:spChg>
        <pc:spChg chg="add mod">
          <ac:chgData name="Oğuz Öztekin" userId="33c0df0f-d5fe-4bda-8f43-141ad7af67e3" providerId="ADAL" clId="{18BFCD08-9838-4C62-912A-E59CEE905FD1}" dt="2024-12-17T08:24:34.580" v="5252" actId="20577"/>
          <ac:spMkLst>
            <pc:docMk/>
            <pc:sldMk cId="0" sldId="257"/>
            <ac:spMk id="16" creationId="{F415DCF5-AD3E-9129-0AD1-8D6B3A178FAD}"/>
          </ac:spMkLst>
        </pc:spChg>
        <pc:spChg chg="mod">
          <ac:chgData name="Oğuz Öztekin" userId="33c0df0f-d5fe-4bda-8f43-141ad7af67e3" providerId="ADAL" clId="{18BFCD08-9838-4C62-912A-E59CEE905FD1}" dt="2024-12-17T08:20:21.227" v="9" actId="20577"/>
          <ac:spMkLst>
            <pc:docMk/>
            <pc:sldMk cId="0" sldId="257"/>
            <ac:spMk id="44" creationId="{00000000-0000-0000-0000-000000000000}"/>
          </ac:spMkLst>
        </pc:spChg>
      </pc:sldChg>
      <pc:sldChg chg="modSp mod">
        <pc:chgData name="Oğuz Öztekin" userId="33c0df0f-d5fe-4bda-8f43-141ad7af67e3" providerId="ADAL" clId="{18BFCD08-9838-4C62-912A-E59CEE905FD1}" dt="2024-12-17T08:37:36.847" v="27015" actId="1076"/>
        <pc:sldMkLst>
          <pc:docMk/>
          <pc:sldMk cId="0" sldId="262"/>
        </pc:sldMkLst>
        <pc:spChg chg="mod">
          <ac:chgData name="Oğuz Öztekin" userId="33c0df0f-d5fe-4bda-8f43-141ad7af67e3" providerId="ADAL" clId="{18BFCD08-9838-4C62-912A-E59CEE905FD1}" dt="2024-12-17T08:37:36.847" v="27015" actId="1076"/>
          <ac:spMkLst>
            <pc:docMk/>
            <pc:sldMk cId="0" sldId="262"/>
            <ac:spMk id="2" creationId="{B8D2163F-5A65-F10B-EA20-1EC32C52DCE2}"/>
          </ac:spMkLst>
        </pc:spChg>
      </pc:sldChg>
      <pc:sldChg chg="addSp delSp modSp mod">
        <pc:chgData name="Oğuz Öztekin" userId="33c0df0f-d5fe-4bda-8f43-141ad7af67e3" providerId="ADAL" clId="{18BFCD08-9838-4C62-912A-E59CEE905FD1}" dt="2024-12-17T08:34:44.435" v="26880"/>
        <pc:sldMkLst>
          <pc:docMk/>
          <pc:sldMk cId="865606007" sldId="279"/>
        </pc:sldMkLst>
        <pc:spChg chg="mod ord">
          <ac:chgData name="Oğuz Öztekin" userId="33c0df0f-d5fe-4bda-8f43-141ad7af67e3" providerId="ADAL" clId="{18BFCD08-9838-4C62-912A-E59CEE905FD1}" dt="2024-12-17T08:34:44.385" v="26823"/>
          <ac:spMkLst>
            <pc:docMk/>
            <pc:sldMk cId="865606007" sldId="279"/>
            <ac:spMk id="2" creationId="{00877133-0E9A-69CF-2FAE-FB2A3737F156}"/>
          </ac:spMkLst>
        </pc:spChg>
        <pc:spChg chg="mod ord">
          <ac:chgData name="Oğuz Öztekin" userId="33c0df0f-d5fe-4bda-8f43-141ad7af67e3" providerId="ADAL" clId="{18BFCD08-9838-4C62-912A-E59CEE905FD1}" dt="2024-12-17T08:34:44.426" v="26868"/>
          <ac:spMkLst>
            <pc:docMk/>
            <pc:sldMk cId="865606007" sldId="279"/>
            <ac:spMk id="4" creationId="{9E54FA92-A211-FC6E-2D5F-5766951641B9}"/>
          </ac:spMkLst>
        </pc:spChg>
        <pc:spChg chg="add del mod modVis">
          <ac:chgData name="Oğuz Öztekin" userId="33c0df0f-d5fe-4bda-8f43-141ad7af67e3" providerId="ADAL" clId="{18BFCD08-9838-4C62-912A-E59CEE905FD1}" dt="2024-12-17T08:20:46.014" v="270"/>
          <ac:spMkLst>
            <pc:docMk/>
            <pc:sldMk cId="865606007" sldId="279"/>
            <ac:spMk id="5" creationId="{59597AF9-E071-1C24-650B-8FC3BEDE7367}"/>
          </ac:spMkLst>
        </pc:spChg>
        <pc:spChg chg="add del mod modVis">
          <ac:chgData name="Oğuz Öztekin" userId="33c0df0f-d5fe-4bda-8f43-141ad7af67e3" providerId="ADAL" clId="{18BFCD08-9838-4C62-912A-E59CEE905FD1}" dt="2024-12-17T08:20:54.534" v="1881"/>
          <ac:spMkLst>
            <pc:docMk/>
            <pc:sldMk cId="865606007" sldId="279"/>
            <ac:spMk id="7" creationId="{95869E67-180E-CA36-98D2-F1CF9B50EAF3}"/>
          </ac:spMkLst>
        </pc:spChg>
        <pc:spChg chg="add del mod">
          <ac:chgData name="Oğuz Öztekin" userId="33c0df0f-d5fe-4bda-8f43-141ad7af67e3" providerId="ADAL" clId="{18BFCD08-9838-4C62-912A-E59CEE905FD1}" dt="2024-12-17T08:21:59.113" v="4388"/>
          <ac:spMkLst>
            <pc:docMk/>
            <pc:sldMk cId="865606007" sldId="279"/>
            <ac:spMk id="8" creationId="{5BD4943F-F06E-A64F-B584-765A68A5A62D}"/>
          </ac:spMkLst>
        </pc:spChg>
        <pc:spChg chg="add del mod">
          <ac:chgData name="Oğuz Öztekin" userId="33c0df0f-d5fe-4bda-8f43-141ad7af67e3" providerId="ADAL" clId="{18BFCD08-9838-4C62-912A-E59CEE905FD1}" dt="2024-12-17T08:21:59.113" v="4387"/>
          <ac:spMkLst>
            <pc:docMk/>
            <pc:sldMk cId="865606007" sldId="279"/>
            <ac:spMk id="9" creationId="{8263D7E4-44BC-352F-A1E1-9A1EACF5685E}"/>
          </ac:spMkLst>
        </pc:spChg>
        <pc:spChg chg="add del mod">
          <ac:chgData name="Oğuz Öztekin" userId="33c0df0f-d5fe-4bda-8f43-141ad7af67e3" providerId="ADAL" clId="{18BFCD08-9838-4C62-912A-E59CEE905FD1}" dt="2024-12-17T08:21:59.114" v="4390"/>
          <ac:spMkLst>
            <pc:docMk/>
            <pc:sldMk cId="865606007" sldId="279"/>
            <ac:spMk id="10" creationId="{A4E4D580-E649-E04B-8B42-FD2242A3918C}"/>
          </ac:spMkLst>
        </pc:spChg>
        <pc:spChg chg="add del mod">
          <ac:chgData name="Oğuz Öztekin" userId="33c0df0f-d5fe-4bda-8f43-141ad7af67e3" providerId="ADAL" clId="{18BFCD08-9838-4C62-912A-E59CEE905FD1}" dt="2024-12-17T08:21:59.114" v="4389"/>
          <ac:spMkLst>
            <pc:docMk/>
            <pc:sldMk cId="865606007" sldId="279"/>
            <ac:spMk id="11" creationId="{506AEC88-76CB-FB87-3E5A-2D321AAAC488}"/>
          </ac:spMkLst>
        </pc:spChg>
        <pc:spChg chg="add del mod">
          <ac:chgData name="Oğuz Öztekin" userId="33c0df0f-d5fe-4bda-8f43-141ad7af67e3" providerId="ADAL" clId="{18BFCD08-9838-4C62-912A-E59CEE905FD1}" dt="2024-12-17T08:21:59.115" v="4392"/>
          <ac:spMkLst>
            <pc:docMk/>
            <pc:sldMk cId="865606007" sldId="279"/>
            <ac:spMk id="12" creationId="{E0361605-BF01-44B6-7FB0-F07B8ECA0A9C}"/>
          </ac:spMkLst>
        </pc:spChg>
        <pc:spChg chg="add del mod">
          <ac:chgData name="Oğuz Öztekin" userId="33c0df0f-d5fe-4bda-8f43-141ad7af67e3" providerId="ADAL" clId="{18BFCD08-9838-4C62-912A-E59CEE905FD1}" dt="2024-12-17T08:21:59.114" v="4391"/>
          <ac:spMkLst>
            <pc:docMk/>
            <pc:sldMk cId="865606007" sldId="279"/>
            <ac:spMk id="13" creationId="{5EF226D4-DE36-E8C3-60EA-6D4E18488F80}"/>
          </ac:spMkLst>
        </pc:spChg>
        <pc:spChg chg="add del mod">
          <ac:chgData name="Oğuz Öztekin" userId="33c0df0f-d5fe-4bda-8f43-141ad7af67e3" providerId="ADAL" clId="{18BFCD08-9838-4C62-912A-E59CEE905FD1}" dt="2024-12-17T08:21:59.115" v="4394"/>
          <ac:spMkLst>
            <pc:docMk/>
            <pc:sldMk cId="865606007" sldId="279"/>
            <ac:spMk id="14" creationId="{AB86884C-C229-E584-016C-ED85A38C9081}"/>
          </ac:spMkLst>
        </pc:spChg>
        <pc:spChg chg="add del mod">
          <ac:chgData name="Oğuz Öztekin" userId="33c0df0f-d5fe-4bda-8f43-141ad7af67e3" providerId="ADAL" clId="{18BFCD08-9838-4C62-912A-E59CEE905FD1}" dt="2024-12-17T08:21:59.115" v="4393"/>
          <ac:spMkLst>
            <pc:docMk/>
            <pc:sldMk cId="865606007" sldId="279"/>
            <ac:spMk id="15" creationId="{A9E8802E-EA20-0E1B-7114-7ACC1C4EFAB0}"/>
          </ac:spMkLst>
        </pc:spChg>
        <pc:spChg chg="add del mod">
          <ac:chgData name="Oğuz Öztekin" userId="33c0df0f-d5fe-4bda-8f43-141ad7af67e3" providerId="ADAL" clId="{18BFCD08-9838-4C62-912A-E59CEE905FD1}" dt="2024-12-17T08:21:59.116" v="4396"/>
          <ac:spMkLst>
            <pc:docMk/>
            <pc:sldMk cId="865606007" sldId="279"/>
            <ac:spMk id="16" creationId="{47EBFE27-6E09-F85F-B728-29E96047ED6F}"/>
          </ac:spMkLst>
        </pc:spChg>
        <pc:spChg chg="add del mod">
          <ac:chgData name="Oğuz Öztekin" userId="33c0df0f-d5fe-4bda-8f43-141ad7af67e3" providerId="ADAL" clId="{18BFCD08-9838-4C62-912A-E59CEE905FD1}" dt="2024-12-17T08:21:59.116" v="4395"/>
          <ac:spMkLst>
            <pc:docMk/>
            <pc:sldMk cId="865606007" sldId="279"/>
            <ac:spMk id="17" creationId="{E67F7B3A-2D8B-E402-1BBC-5E07754045E7}"/>
          </ac:spMkLst>
        </pc:spChg>
        <pc:spChg chg="add del mod">
          <ac:chgData name="Oğuz Öztekin" userId="33c0df0f-d5fe-4bda-8f43-141ad7af67e3" providerId="ADAL" clId="{18BFCD08-9838-4C62-912A-E59CEE905FD1}" dt="2024-12-17T08:21:59.116" v="4398"/>
          <ac:spMkLst>
            <pc:docMk/>
            <pc:sldMk cId="865606007" sldId="279"/>
            <ac:spMk id="18" creationId="{51B79BE4-84FE-44A8-EE52-9F4F3E90D0F5}"/>
          </ac:spMkLst>
        </pc:spChg>
        <pc:spChg chg="add del mod">
          <ac:chgData name="Oğuz Öztekin" userId="33c0df0f-d5fe-4bda-8f43-141ad7af67e3" providerId="ADAL" clId="{18BFCD08-9838-4C62-912A-E59CEE905FD1}" dt="2024-12-17T08:21:59.116" v="4397"/>
          <ac:spMkLst>
            <pc:docMk/>
            <pc:sldMk cId="865606007" sldId="279"/>
            <ac:spMk id="19" creationId="{A3E4E784-A495-24D3-D867-055798D56E55}"/>
          </ac:spMkLst>
        </pc:spChg>
        <pc:spChg chg="add del mod">
          <ac:chgData name="Oğuz Öztekin" userId="33c0df0f-d5fe-4bda-8f43-141ad7af67e3" providerId="ADAL" clId="{18BFCD08-9838-4C62-912A-E59CEE905FD1}" dt="2024-12-17T08:21:59.118" v="4400"/>
          <ac:spMkLst>
            <pc:docMk/>
            <pc:sldMk cId="865606007" sldId="279"/>
            <ac:spMk id="20" creationId="{851354C4-4D62-C287-F8FB-AE79165D81B7}"/>
          </ac:spMkLst>
        </pc:spChg>
        <pc:spChg chg="add del mod">
          <ac:chgData name="Oğuz Öztekin" userId="33c0df0f-d5fe-4bda-8f43-141ad7af67e3" providerId="ADAL" clId="{18BFCD08-9838-4C62-912A-E59CEE905FD1}" dt="2024-12-17T08:21:59.116" v="4399"/>
          <ac:spMkLst>
            <pc:docMk/>
            <pc:sldMk cId="865606007" sldId="279"/>
            <ac:spMk id="21" creationId="{9EFC3201-4421-54A4-A1FC-A03AAE9ED8A9}"/>
          </ac:spMkLst>
        </pc:spChg>
        <pc:spChg chg="add del mod">
          <ac:chgData name="Oğuz Öztekin" userId="33c0df0f-d5fe-4bda-8f43-141ad7af67e3" providerId="ADAL" clId="{18BFCD08-9838-4C62-912A-E59CEE905FD1}" dt="2024-12-17T08:21:59.118" v="4402"/>
          <ac:spMkLst>
            <pc:docMk/>
            <pc:sldMk cId="865606007" sldId="279"/>
            <ac:spMk id="22" creationId="{ECFC0820-CD4F-D95B-3E72-61541F60CDBB}"/>
          </ac:spMkLst>
        </pc:spChg>
        <pc:spChg chg="add del mod">
          <ac:chgData name="Oğuz Öztekin" userId="33c0df0f-d5fe-4bda-8f43-141ad7af67e3" providerId="ADAL" clId="{18BFCD08-9838-4C62-912A-E59CEE905FD1}" dt="2024-12-17T08:21:59.118" v="4401"/>
          <ac:spMkLst>
            <pc:docMk/>
            <pc:sldMk cId="865606007" sldId="279"/>
            <ac:spMk id="23" creationId="{B62BD2A5-3DF5-3903-D186-B42C466DA2D0}"/>
          </ac:spMkLst>
        </pc:spChg>
        <pc:spChg chg="add del mod">
          <ac:chgData name="Oğuz Öztekin" userId="33c0df0f-d5fe-4bda-8f43-141ad7af67e3" providerId="ADAL" clId="{18BFCD08-9838-4C62-912A-E59CEE905FD1}" dt="2024-12-17T08:21:59.119" v="4404"/>
          <ac:spMkLst>
            <pc:docMk/>
            <pc:sldMk cId="865606007" sldId="279"/>
            <ac:spMk id="24" creationId="{9C57CBB5-95CD-1945-9EEC-CFB9A5F632A0}"/>
          </ac:spMkLst>
        </pc:spChg>
        <pc:spChg chg="add del mod">
          <ac:chgData name="Oğuz Öztekin" userId="33c0df0f-d5fe-4bda-8f43-141ad7af67e3" providerId="ADAL" clId="{18BFCD08-9838-4C62-912A-E59CEE905FD1}" dt="2024-12-17T08:21:59.118" v="4403"/>
          <ac:spMkLst>
            <pc:docMk/>
            <pc:sldMk cId="865606007" sldId="279"/>
            <ac:spMk id="25" creationId="{ED8241BA-38DF-3AFD-F698-7E7B695C4F4E}"/>
          </ac:spMkLst>
        </pc:spChg>
        <pc:spChg chg="add del mod">
          <ac:chgData name="Oğuz Öztekin" userId="33c0df0f-d5fe-4bda-8f43-141ad7af67e3" providerId="ADAL" clId="{18BFCD08-9838-4C62-912A-E59CEE905FD1}" dt="2024-12-17T08:21:59.119" v="4406"/>
          <ac:spMkLst>
            <pc:docMk/>
            <pc:sldMk cId="865606007" sldId="279"/>
            <ac:spMk id="26" creationId="{44581F56-82EB-A7B2-9A6A-734BBC234F5C}"/>
          </ac:spMkLst>
        </pc:spChg>
        <pc:spChg chg="add del mod">
          <ac:chgData name="Oğuz Öztekin" userId="33c0df0f-d5fe-4bda-8f43-141ad7af67e3" providerId="ADAL" clId="{18BFCD08-9838-4C62-912A-E59CEE905FD1}" dt="2024-12-17T08:21:59.119" v="4405"/>
          <ac:spMkLst>
            <pc:docMk/>
            <pc:sldMk cId="865606007" sldId="279"/>
            <ac:spMk id="27" creationId="{285D358B-9886-9738-B249-6FCC315717F5}"/>
          </ac:spMkLst>
        </pc:spChg>
        <pc:spChg chg="add del mod">
          <ac:chgData name="Oğuz Öztekin" userId="33c0df0f-d5fe-4bda-8f43-141ad7af67e3" providerId="ADAL" clId="{18BFCD08-9838-4C62-912A-E59CEE905FD1}" dt="2024-12-17T08:20:59.102" v="2642"/>
          <ac:spMkLst>
            <pc:docMk/>
            <pc:sldMk cId="865606007" sldId="279"/>
            <ac:spMk id="28" creationId="{020F795D-2230-965B-0833-BB4F0AC50B04}"/>
          </ac:spMkLst>
        </pc:spChg>
        <pc:spChg chg="add del mod">
          <ac:chgData name="Oğuz Öztekin" userId="33c0df0f-d5fe-4bda-8f43-141ad7af67e3" providerId="ADAL" clId="{18BFCD08-9838-4C62-912A-E59CEE905FD1}" dt="2024-12-17T08:20:58.739" v="2138"/>
          <ac:spMkLst>
            <pc:docMk/>
            <pc:sldMk cId="865606007" sldId="279"/>
            <ac:spMk id="29" creationId="{A7AC4F62-505B-130B-B573-D0D5F0072C63}"/>
          </ac:spMkLst>
        </pc:spChg>
        <pc:spChg chg="add del mod">
          <ac:chgData name="Oğuz Öztekin" userId="33c0df0f-d5fe-4bda-8f43-141ad7af67e3" providerId="ADAL" clId="{18BFCD08-9838-4C62-912A-E59CEE905FD1}" dt="2024-12-17T08:20:58.739" v="2137"/>
          <ac:spMkLst>
            <pc:docMk/>
            <pc:sldMk cId="865606007" sldId="279"/>
            <ac:spMk id="30" creationId="{E3A5D8BE-4917-719D-C307-5631FC0F209A}"/>
          </ac:spMkLst>
        </pc:spChg>
        <pc:spChg chg="add del mod">
          <ac:chgData name="Oğuz Öztekin" userId="33c0df0f-d5fe-4bda-8f43-141ad7af67e3" providerId="ADAL" clId="{18BFCD08-9838-4C62-912A-E59CEE905FD1}" dt="2024-12-17T08:20:58.739" v="2136"/>
          <ac:spMkLst>
            <pc:docMk/>
            <pc:sldMk cId="865606007" sldId="279"/>
            <ac:spMk id="31" creationId="{68213FE5-0D8E-C62E-93E6-7E4548BCEF06}"/>
          </ac:spMkLst>
        </pc:spChg>
        <pc:spChg chg="add del mod">
          <ac:chgData name="Oğuz Öztekin" userId="33c0df0f-d5fe-4bda-8f43-141ad7af67e3" providerId="ADAL" clId="{18BFCD08-9838-4C62-912A-E59CEE905FD1}" dt="2024-12-17T08:21:59.110" v="4378"/>
          <ac:spMkLst>
            <pc:docMk/>
            <pc:sldMk cId="865606007" sldId="279"/>
            <ac:spMk id="32" creationId="{1AB5940F-E1D9-2A98-82FA-ECB24E05C60C}"/>
          </ac:spMkLst>
        </pc:spChg>
        <pc:spChg chg="add del mod">
          <ac:chgData name="Oğuz Öztekin" userId="33c0df0f-d5fe-4bda-8f43-141ad7af67e3" providerId="ADAL" clId="{18BFCD08-9838-4C62-912A-E59CEE905FD1}" dt="2024-12-17T08:21:59.110" v="4379"/>
          <ac:spMkLst>
            <pc:docMk/>
            <pc:sldMk cId="865606007" sldId="279"/>
            <ac:spMk id="33" creationId="{7754AD69-C7D4-BA6B-21CC-5E8A4985261F}"/>
          </ac:spMkLst>
        </pc:spChg>
        <pc:spChg chg="add del mod">
          <ac:chgData name="Oğuz Öztekin" userId="33c0df0f-d5fe-4bda-8f43-141ad7af67e3" providerId="ADAL" clId="{18BFCD08-9838-4C62-912A-E59CEE905FD1}" dt="2024-12-17T08:21:59.110" v="4380"/>
          <ac:spMkLst>
            <pc:docMk/>
            <pc:sldMk cId="865606007" sldId="279"/>
            <ac:spMk id="34" creationId="{03D5BA09-5957-0358-1B20-D2F0A1636622}"/>
          </ac:spMkLst>
        </pc:spChg>
        <pc:spChg chg="del mod">
          <ac:chgData name="Oğuz Öztekin" userId="33c0df0f-d5fe-4bda-8f43-141ad7af67e3" providerId="ADAL" clId="{18BFCD08-9838-4C62-912A-E59CEE905FD1}" dt="2024-12-17T08:27:24.700" v="7355"/>
          <ac:spMkLst>
            <pc:docMk/>
            <pc:sldMk cId="865606007" sldId="279"/>
            <ac:spMk id="35" creationId="{038E9C82-A4B7-58C3-6687-FB2E7EEE99E6}"/>
          </ac:spMkLst>
        </pc:spChg>
        <pc:spChg chg="del mod">
          <ac:chgData name="Oğuz Öztekin" userId="33c0df0f-d5fe-4bda-8f43-141ad7af67e3" providerId="ADAL" clId="{18BFCD08-9838-4C62-912A-E59CEE905FD1}" dt="2024-12-17T08:27:24.700" v="7356"/>
          <ac:spMkLst>
            <pc:docMk/>
            <pc:sldMk cId="865606007" sldId="279"/>
            <ac:spMk id="36" creationId="{528F6AA9-AA56-B794-383C-E99BF71D8300}"/>
          </ac:spMkLst>
        </pc:spChg>
        <pc:spChg chg="del mod">
          <ac:chgData name="Oğuz Öztekin" userId="33c0df0f-d5fe-4bda-8f43-141ad7af67e3" providerId="ADAL" clId="{18BFCD08-9838-4C62-912A-E59CEE905FD1}" dt="2024-12-17T08:27:24.700" v="7357"/>
          <ac:spMkLst>
            <pc:docMk/>
            <pc:sldMk cId="865606007" sldId="279"/>
            <ac:spMk id="37" creationId="{041B9E9C-7822-E12A-791F-057DBA376E81}"/>
          </ac:spMkLst>
        </pc:spChg>
        <pc:spChg chg="add del mod">
          <ac:chgData name="Oğuz Öztekin" userId="33c0df0f-d5fe-4bda-8f43-141ad7af67e3" providerId="ADAL" clId="{18BFCD08-9838-4C62-912A-E59CEE905FD1}" dt="2024-12-17T08:21:59.111" v="4381"/>
          <ac:spMkLst>
            <pc:docMk/>
            <pc:sldMk cId="865606007" sldId="279"/>
            <ac:spMk id="38" creationId="{2DB54A55-93D2-5D0E-6F7B-D1BB33EAF3C2}"/>
          </ac:spMkLst>
        </pc:spChg>
        <pc:spChg chg="add del mod">
          <ac:chgData name="Oğuz Öztekin" userId="33c0df0f-d5fe-4bda-8f43-141ad7af67e3" providerId="ADAL" clId="{18BFCD08-9838-4C62-912A-E59CEE905FD1}" dt="2024-12-17T08:21:59.111" v="4382"/>
          <ac:spMkLst>
            <pc:docMk/>
            <pc:sldMk cId="865606007" sldId="279"/>
            <ac:spMk id="39" creationId="{490F99F1-209C-BE08-012C-8637344DAF4D}"/>
          </ac:spMkLst>
        </pc:spChg>
        <pc:spChg chg="add del mod">
          <ac:chgData name="Oğuz Öztekin" userId="33c0df0f-d5fe-4bda-8f43-141ad7af67e3" providerId="ADAL" clId="{18BFCD08-9838-4C62-912A-E59CEE905FD1}" dt="2024-12-17T08:21:59.111" v="4383"/>
          <ac:spMkLst>
            <pc:docMk/>
            <pc:sldMk cId="865606007" sldId="279"/>
            <ac:spMk id="40" creationId="{1F9681B5-6039-00D2-1773-EFA2D6F1C3AE}"/>
          </ac:spMkLst>
        </pc:spChg>
        <pc:spChg chg="add del mod">
          <ac:chgData name="Oğuz Öztekin" userId="33c0df0f-d5fe-4bda-8f43-141ad7af67e3" providerId="ADAL" clId="{18BFCD08-9838-4C62-912A-E59CEE905FD1}" dt="2024-12-17T08:21:59.112" v="4384"/>
          <ac:spMkLst>
            <pc:docMk/>
            <pc:sldMk cId="865606007" sldId="279"/>
            <ac:spMk id="41" creationId="{9C724C73-C432-39B1-E5F5-4E9E40D1DD41}"/>
          </ac:spMkLst>
        </pc:spChg>
        <pc:spChg chg="add del mod">
          <ac:chgData name="Oğuz Öztekin" userId="33c0df0f-d5fe-4bda-8f43-141ad7af67e3" providerId="ADAL" clId="{18BFCD08-9838-4C62-912A-E59CEE905FD1}" dt="2024-12-17T08:21:59.112" v="4385"/>
          <ac:spMkLst>
            <pc:docMk/>
            <pc:sldMk cId="865606007" sldId="279"/>
            <ac:spMk id="42" creationId="{F9C975A3-FEB4-431A-D5AB-35B3204D5D73}"/>
          </ac:spMkLst>
        </pc:spChg>
        <pc:spChg chg="add del mod">
          <ac:chgData name="Oğuz Öztekin" userId="33c0df0f-d5fe-4bda-8f43-141ad7af67e3" providerId="ADAL" clId="{18BFCD08-9838-4C62-912A-E59CEE905FD1}" dt="2024-12-17T08:21:59.112" v="4386"/>
          <ac:spMkLst>
            <pc:docMk/>
            <pc:sldMk cId="865606007" sldId="279"/>
            <ac:spMk id="43" creationId="{F9C7AC50-656A-BCC2-6629-66EF183897BB}"/>
          </ac:spMkLst>
        </pc:spChg>
        <pc:spChg chg="add del mod modVis">
          <ac:chgData name="Oğuz Öztekin" userId="33c0df0f-d5fe-4bda-8f43-141ad7af67e3" providerId="ADAL" clId="{18BFCD08-9838-4C62-912A-E59CEE905FD1}" dt="2024-12-17T08:21:56.949" v="4374"/>
          <ac:spMkLst>
            <pc:docMk/>
            <pc:sldMk cId="865606007" sldId="279"/>
            <ac:spMk id="45" creationId="{63E213C9-6C5F-9BA0-D6EE-FF4FA4D19A98}"/>
          </ac:spMkLst>
        </pc:spChg>
        <pc:spChg chg="add del mod">
          <ac:chgData name="Oğuz Öztekin" userId="33c0df0f-d5fe-4bda-8f43-141ad7af67e3" providerId="ADAL" clId="{18BFCD08-9838-4C62-912A-E59CEE905FD1}" dt="2024-12-17T08:21:59.193" v="4516"/>
          <ac:spMkLst>
            <pc:docMk/>
            <pc:sldMk cId="865606007" sldId="279"/>
            <ac:spMk id="46" creationId="{AAF2D5BF-516E-5F02-BDCE-8AE07880567A}"/>
          </ac:spMkLst>
        </pc:spChg>
        <pc:spChg chg="add del mod">
          <ac:chgData name="Oğuz Öztekin" userId="33c0df0f-d5fe-4bda-8f43-141ad7af67e3" providerId="ADAL" clId="{18BFCD08-9838-4C62-912A-E59CEE905FD1}" dt="2024-12-17T08:21:59.159" v="4462"/>
          <ac:spMkLst>
            <pc:docMk/>
            <pc:sldMk cId="865606007" sldId="279"/>
            <ac:spMk id="47" creationId="{31079956-F31D-8A80-7A29-05FE231F7B0B}"/>
          </ac:spMkLst>
        </pc:spChg>
        <pc:spChg chg="add del mod">
          <ac:chgData name="Oğuz Öztekin" userId="33c0df0f-d5fe-4bda-8f43-141ad7af67e3" providerId="ADAL" clId="{18BFCD08-9838-4C62-912A-E59CEE905FD1}" dt="2024-12-17T08:21:59.159" v="4461"/>
          <ac:spMkLst>
            <pc:docMk/>
            <pc:sldMk cId="865606007" sldId="279"/>
            <ac:spMk id="48" creationId="{A2F0BA71-7E38-C700-9099-75BA88D120CA}"/>
          </ac:spMkLst>
        </pc:spChg>
        <pc:spChg chg="add del mod">
          <ac:chgData name="Oğuz Öztekin" userId="33c0df0f-d5fe-4bda-8f43-141ad7af67e3" providerId="ADAL" clId="{18BFCD08-9838-4C62-912A-E59CEE905FD1}" dt="2024-12-17T08:21:59.159" v="4460"/>
          <ac:spMkLst>
            <pc:docMk/>
            <pc:sldMk cId="865606007" sldId="279"/>
            <ac:spMk id="49" creationId="{A3A4891A-B1E8-E8AC-71B9-AADCC28080D8}"/>
          </ac:spMkLst>
        </pc:spChg>
        <pc:spChg chg="add del mod">
          <ac:chgData name="Oğuz Öztekin" userId="33c0df0f-d5fe-4bda-8f43-141ad7af67e3" providerId="ADAL" clId="{18BFCD08-9838-4C62-912A-E59CEE905FD1}" dt="2024-12-17T08:21:59.159" v="4459"/>
          <ac:spMkLst>
            <pc:docMk/>
            <pc:sldMk cId="865606007" sldId="279"/>
            <ac:spMk id="50" creationId="{415E58BF-E9C9-6625-0CBD-525F03B3949E}"/>
          </ac:spMkLst>
        </pc:spChg>
        <pc:spChg chg="add del mod">
          <ac:chgData name="Oğuz Öztekin" userId="33c0df0f-d5fe-4bda-8f43-141ad7af67e3" providerId="ADAL" clId="{18BFCD08-9838-4C62-912A-E59CEE905FD1}" dt="2024-12-17T08:21:59.158" v="4458"/>
          <ac:spMkLst>
            <pc:docMk/>
            <pc:sldMk cId="865606007" sldId="279"/>
            <ac:spMk id="51" creationId="{B118F5BB-AFBD-E251-F081-9E03F27D5012}"/>
          </ac:spMkLst>
        </pc:spChg>
        <pc:spChg chg="add del mod">
          <ac:chgData name="Oğuz Öztekin" userId="33c0df0f-d5fe-4bda-8f43-141ad7af67e3" providerId="ADAL" clId="{18BFCD08-9838-4C62-912A-E59CEE905FD1}" dt="2024-12-17T08:21:59.158" v="4457"/>
          <ac:spMkLst>
            <pc:docMk/>
            <pc:sldMk cId="865606007" sldId="279"/>
            <ac:spMk id="52" creationId="{EE5D27F3-23DF-0C3A-0AF9-3A3F2B28872F}"/>
          </ac:spMkLst>
        </pc:spChg>
        <pc:spChg chg="add del mod">
          <ac:chgData name="Oğuz Öztekin" userId="33c0df0f-d5fe-4bda-8f43-141ad7af67e3" providerId="ADAL" clId="{18BFCD08-9838-4C62-912A-E59CEE905FD1}" dt="2024-12-17T08:21:59.158" v="4456"/>
          <ac:spMkLst>
            <pc:docMk/>
            <pc:sldMk cId="865606007" sldId="279"/>
            <ac:spMk id="53" creationId="{26B75007-C141-2FD7-E380-F616E8E77E52}"/>
          </ac:spMkLst>
        </pc:spChg>
        <pc:spChg chg="add del mod">
          <ac:chgData name="Oğuz Öztekin" userId="33c0df0f-d5fe-4bda-8f43-141ad7af67e3" providerId="ADAL" clId="{18BFCD08-9838-4C62-912A-E59CEE905FD1}" dt="2024-12-17T08:21:59.157" v="4455"/>
          <ac:spMkLst>
            <pc:docMk/>
            <pc:sldMk cId="865606007" sldId="279"/>
            <ac:spMk id="54" creationId="{C8107047-B84D-C696-7130-999FFEEAAD93}"/>
          </ac:spMkLst>
        </pc:spChg>
        <pc:spChg chg="add del mod">
          <ac:chgData name="Oğuz Öztekin" userId="33c0df0f-d5fe-4bda-8f43-141ad7af67e3" providerId="ADAL" clId="{18BFCD08-9838-4C62-912A-E59CEE905FD1}" dt="2024-12-17T08:21:59.157" v="4454"/>
          <ac:spMkLst>
            <pc:docMk/>
            <pc:sldMk cId="865606007" sldId="279"/>
            <ac:spMk id="55" creationId="{BA0498BA-F25E-B443-A69F-98AF20C1AA35}"/>
          </ac:spMkLst>
        </pc:spChg>
        <pc:spChg chg="add del mod">
          <ac:chgData name="Oğuz Öztekin" userId="33c0df0f-d5fe-4bda-8f43-141ad7af67e3" providerId="ADAL" clId="{18BFCD08-9838-4C62-912A-E59CEE905FD1}" dt="2024-12-17T08:21:59.157" v="4453"/>
          <ac:spMkLst>
            <pc:docMk/>
            <pc:sldMk cId="865606007" sldId="279"/>
            <ac:spMk id="56" creationId="{58FE5382-A41D-EA69-69E8-8DD9E44216A2}"/>
          </ac:spMkLst>
        </pc:spChg>
        <pc:spChg chg="add del mod">
          <ac:chgData name="Oğuz Öztekin" userId="33c0df0f-d5fe-4bda-8f43-141ad7af67e3" providerId="ADAL" clId="{18BFCD08-9838-4C62-912A-E59CEE905FD1}" dt="2024-12-17T08:21:59.156" v="4452"/>
          <ac:spMkLst>
            <pc:docMk/>
            <pc:sldMk cId="865606007" sldId="279"/>
            <ac:spMk id="57" creationId="{5E52FDCA-98C7-62F9-B044-01FD4DD2509E}"/>
          </ac:spMkLst>
        </pc:spChg>
        <pc:spChg chg="add del mod modVis">
          <ac:chgData name="Oğuz Öztekin" userId="33c0df0f-d5fe-4bda-8f43-141ad7af67e3" providerId="ADAL" clId="{18BFCD08-9838-4C62-912A-E59CEE905FD1}" dt="2024-12-17T08:21:59.225" v="4577"/>
          <ac:spMkLst>
            <pc:docMk/>
            <pc:sldMk cId="865606007" sldId="279"/>
            <ac:spMk id="59" creationId="{725AEE25-CFB3-2C1B-AF3B-91A07AF16853}"/>
          </ac:spMkLst>
        </pc:spChg>
        <pc:spChg chg="add del mod modVis">
          <ac:chgData name="Oğuz Öztekin" userId="33c0df0f-d5fe-4bda-8f43-141ad7af67e3" providerId="ADAL" clId="{18BFCD08-9838-4C62-912A-E59CEE905FD1}" dt="2024-12-17T08:22:02.190" v="5213"/>
          <ac:spMkLst>
            <pc:docMk/>
            <pc:sldMk cId="865606007" sldId="279"/>
            <ac:spMk id="61" creationId="{A31838A5-402C-F69C-BDD0-3024CD84FCF1}"/>
          </ac:spMkLst>
        </pc:spChg>
        <pc:spChg chg="add del mod">
          <ac:chgData name="Oğuz Öztekin" userId="33c0df0f-d5fe-4bda-8f43-141ad7af67e3" providerId="ADAL" clId="{18BFCD08-9838-4C62-912A-E59CEE905FD1}" dt="2024-12-17T08:25:39.506" v="5481"/>
          <ac:spMkLst>
            <pc:docMk/>
            <pc:sldMk cId="865606007" sldId="279"/>
            <ac:spMk id="62" creationId="{91407D2F-475A-B9E9-C7FA-BA7A164ED184}"/>
          </ac:spMkLst>
        </pc:spChg>
        <pc:spChg chg="add del mod">
          <ac:chgData name="Oğuz Öztekin" userId="33c0df0f-d5fe-4bda-8f43-141ad7af67e3" providerId="ADAL" clId="{18BFCD08-9838-4C62-912A-E59CEE905FD1}" dt="2024-12-17T08:25:41.244" v="5590"/>
          <ac:spMkLst>
            <pc:docMk/>
            <pc:sldMk cId="865606007" sldId="279"/>
            <ac:spMk id="63" creationId="{5EFF242A-DBFD-AF48-CBCD-9F362883789E}"/>
          </ac:spMkLst>
        </pc:spChg>
        <pc:spChg chg="add del mod">
          <ac:chgData name="Oğuz Öztekin" userId="33c0df0f-d5fe-4bda-8f43-141ad7af67e3" providerId="ADAL" clId="{18BFCD08-9838-4C62-912A-E59CEE905FD1}" dt="2024-12-17T08:25:42.675" v="5697"/>
          <ac:spMkLst>
            <pc:docMk/>
            <pc:sldMk cId="865606007" sldId="279"/>
            <ac:spMk id="64" creationId="{090BEDE6-7375-54A7-72B1-5DAC1FE6C1C5}"/>
          </ac:spMkLst>
        </pc:spChg>
        <pc:spChg chg="add del mod">
          <ac:chgData name="Oğuz Öztekin" userId="33c0df0f-d5fe-4bda-8f43-141ad7af67e3" providerId="ADAL" clId="{18BFCD08-9838-4C62-912A-E59CEE905FD1}" dt="2024-12-17T08:25:44.966" v="5802"/>
          <ac:spMkLst>
            <pc:docMk/>
            <pc:sldMk cId="865606007" sldId="279"/>
            <ac:spMk id="65" creationId="{B716A5F9-176B-9BBD-7DFB-B51C00B5C7BC}"/>
          </ac:spMkLst>
        </pc:spChg>
        <pc:spChg chg="add del mod">
          <ac:chgData name="Oğuz Öztekin" userId="33c0df0f-d5fe-4bda-8f43-141ad7af67e3" providerId="ADAL" clId="{18BFCD08-9838-4C62-912A-E59CEE905FD1}" dt="2024-12-17T08:25:48.365" v="5905"/>
          <ac:spMkLst>
            <pc:docMk/>
            <pc:sldMk cId="865606007" sldId="279"/>
            <ac:spMk id="66" creationId="{E725BF0B-FA0B-BB24-8CAE-CC6AEAE8E76D}"/>
          </ac:spMkLst>
        </pc:spChg>
        <pc:spChg chg="add del mod">
          <ac:chgData name="Oğuz Öztekin" userId="33c0df0f-d5fe-4bda-8f43-141ad7af67e3" providerId="ADAL" clId="{18BFCD08-9838-4C62-912A-E59CEE905FD1}" dt="2024-12-17T08:25:48.367" v="5908"/>
          <ac:spMkLst>
            <pc:docMk/>
            <pc:sldMk cId="865606007" sldId="279"/>
            <ac:spMk id="67" creationId="{679B7023-57BA-5D52-CD75-D8BD7918AD34}"/>
          </ac:spMkLst>
        </pc:spChg>
        <pc:spChg chg="add del mod">
          <ac:chgData name="Oğuz Öztekin" userId="33c0df0f-d5fe-4bda-8f43-141ad7af67e3" providerId="ADAL" clId="{18BFCD08-9838-4C62-912A-E59CEE905FD1}" dt="2024-12-17T08:25:48.367" v="5907"/>
          <ac:spMkLst>
            <pc:docMk/>
            <pc:sldMk cId="865606007" sldId="279"/>
            <ac:spMk id="69" creationId="{AAF2A394-F46A-1890-6E3A-95C827E58511}"/>
          </ac:spMkLst>
        </pc:spChg>
        <pc:spChg chg="add del mod">
          <ac:chgData name="Oğuz Öztekin" userId="33c0df0f-d5fe-4bda-8f43-141ad7af67e3" providerId="ADAL" clId="{18BFCD08-9838-4C62-912A-E59CEE905FD1}" dt="2024-12-17T08:25:48.368" v="5910"/>
          <ac:spMkLst>
            <pc:docMk/>
            <pc:sldMk cId="865606007" sldId="279"/>
            <ac:spMk id="70" creationId="{09C89CEF-0372-220A-026B-A71CAD58E15A}"/>
          </ac:spMkLst>
        </pc:spChg>
        <pc:spChg chg="add del mod">
          <ac:chgData name="Oğuz Öztekin" userId="33c0df0f-d5fe-4bda-8f43-141ad7af67e3" providerId="ADAL" clId="{18BFCD08-9838-4C62-912A-E59CEE905FD1}" dt="2024-12-17T08:25:48.367" v="5909"/>
          <ac:spMkLst>
            <pc:docMk/>
            <pc:sldMk cId="865606007" sldId="279"/>
            <ac:spMk id="71" creationId="{04BCA985-ECAD-52E1-E9AA-8E447BA254C3}"/>
          </ac:spMkLst>
        </pc:spChg>
        <pc:spChg chg="add del mod">
          <ac:chgData name="Oğuz Öztekin" userId="33c0df0f-d5fe-4bda-8f43-141ad7af67e3" providerId="ADAL" clId="{18BFCD08-9838-4C62-912A-E59CEE905FD1}" dt="2024-12-17T08:25:48.367" v="5906"/>
          <ac:spMkLst>
            <pc:docMk/>
            <pc:sldMk cId="865606007" sldId="279"/>
            <ac:spMk id="72" creationId="{2B66BD9C-8B94-8226-E1B8-789277580AA4}"/>
          </ac:spMkLst>
        </pc:spChg>
        <pc:spChg chg="add del mod modVis">
          <ac:chgData name="Oğuz Öztekin" userId="33c0df0f-d5fe-4bda-8f43-141ad7af67e3" providerId="ADAL" clId="{18BFCD08-9838-4C62-912A-E59CEE905FD1}" dt="2024-12-17T08:25:35.984" v="5366"/>
          <ac:spMkLst>
            <pc:docMk/>
            <pc:sldMk cId="865606007" sldId="279"/>
            <ac:spMk id="74" creationId="{3A17BC64-2724-CE88-63BF-76017960FF45}"/>
          </ac:spMkLst>
        </pc:spChg>
        <pc:spChg chg="add del mod modVis">
          <ac:chgData name="Oğuz Öztekin" userId="33c0df0f-d5fe-4bda-8f43-141ad7af67e3" providerId="ADAL" clId="{18BFCD08-9838-4C62-912A-E59CEE905FD1}" dt="2024-12-17T08:25:38.001" v="5478"/>
          <ac:spMkLst>
            <pc:docMk/>
            <pc:sldMk cId="865606007" sldId="279"/>
            <ac:spMk id="76" creationId="{48F060E1-3054-B697-12E5-6C2AAD9091F9}"/>
          </ac:spMkLst>
        </pc:spChg>
        <pc:spChg chg="add del mod modVis">
          <ac:chgData name="Oğuz Öztekin" userId="33c0df0f-d5fe-4bda-8f43-141ad7af67e3" providerId="ADAL" clId="{18BFCD08-9838-4C62-912A-E59CEE905FD1}" dt="2024-12-17T08:25:39.581" v="5587"/>
          <ac:spMkLst>
            <pc:docMk/>
            <pc:sldMk cId="865606007" sldId="279"/>
            <ac:spMk id="78" creationId="{E9BF03CD-1872-5594-44CA-8845FCEE5B4B}"/>
          </ac:spMkLst>
        </pc:spChg>
        <pc:spChg chg="add del mod modVis">
          <ac:chgData name="Oğuz Öztekin" userId="33c0df0f-d5fe-4bda-8f43-141ad7af67e3" providerId="ADAL" clId="{18BFCD08-9838-4C62-912A-E59CEE905FD1}" dt="2024-12-17T08:25:41.323" v="5694"/>
          <ac:spMkLst>
            <pc:docMk/>
            <pc:sldMk cId="865606007" sldId="279"/>
            <ac:spMk id="80" creationId="{814D4A7C-4D8C-D221-31B7-C6921C4BA6C5}"/>
          </ac:spMkLst>
        </pc:spChg>
        <pc:spChg chg="add del mod modVis">
          <ac:chgData name="Oğuz Öztekin" userId="33c0df0f-d5fe-4bda-8f43-141ad7af67e3" providerId="ADAL" clId="{18BFCD08-9838-4C62-912A-E59CEE905FD1}" dt="2024-12-17T08:25:42.753" v="5799"/>
          <ac:spMkLst>
            <pc:docMk/>
            <pc:sldMk cId="865606007" sldId="279"/>
            <ac:spMk id="82" creationId="{7685636E-23F6-384F-8AC0-325AC6A5AD6A}"/>
          </ac:spMkLst>
        </pc:spChg>
        <pc:spChg chg="add del mod modVis">
          <ac:chgData name="Oğuz Öztekin" userId="33c0df0f-d5fe-4bda-8f43-141ad7af67e3" providerId="ADAL" clId="{18BFCD08-9838-4C62-912A-E59CEE905FD1}" dt="2024-12-17T08:25:45.038" v="5902"/>
          <ac:spMkLst>
            <pc:docMk/>
            <pc:sldMk cId="865606007" sldId="279"/>
            <ac:spMk id="84" creationId="{A51875E5-662A-9BBE-B5C9-0CD6B643E7CD}"/>
          </ac:spMkLst>
        </pc:spChg>
        <pc:spChg chg="del mod">
          <ac:chgData name="Oğuz Öztekin" userId="33c0df0f-d5fe-4bda-8f43-141ad7af67e3" providerId="ADAL" clId="{18BFCD08-9838-4C62-912A-E59CEE905FD1}" dt="2024-12-17T08:27:24.700" v="7358"/>
          <ac:spMkLst>
            <pc:docMk/>
            <pc:sldMk cId="865606007" sldId="279"/>
            <ac:spMk id="86" creationId="{D0FCB533-6088-11FE-3394-86A1EE694C8E}"/>
          </ac:spMkLst>
        </pc:spChg>
        <pc:spChg chg="del mod">
          <ac:chgData name="Oğuz Öztekin" userId="33c0df0f-d5fe-4bda-8f43-141ad7af67e3" providerId="ADAL" clId="{18BFCD08-9838-4C62-912A-E59CEE905FD1}" dt="2024-12-17T08:27:24.700" v="7359"/>
          <ac:spMkLst>
            <pc:docMk/>
            <pc:sldMk cId="865606007" sldId="279"/>
            <ac:spMk id="87" creationId="{4E76B921-8BA0-08DC-EC1C-A5A428D172E4}"/>
          </ac:spMkLst>
        </pc:spChg>
        <pc:spChg chg="del mod">
          <ac:chgData name="Oğuz Öztekin" userId="33c0df0f-d5fe-4bda-8f43-141ad7af67e3" providerId="ADAL" clId="{18BFCD08-9838-4C62-912A-E59CEE905FD1}" dt="2024-12-17T08:27:24.700" v="7360"/>
          <ac:spMkLst>
            <pc:docMk/>
            <pc:sldMk cId="865606007" sldId="279"/>
            <ac:spMk id="88" creationId="{89451C56-0E80-70A0-4A24-7A1C59B4BABA}"/>
          </ac:spMkLst>
        </pc:spChg>
        <pc:spChg chg="del mod">
          <ac:chgData name="Oğuz Öztekin" userId="33c0df0f-d5fe-4bda-8f43-141ad7af67e3" providerId="ADAL" clId="{18BFCD08-9838-4C62-912A-E59CEE905FD1}" dt="2024-12-17T08:27:24.708" v="7361"/>
          <ac:spMkLst>
            <pc:docMk/>
            <pc:sldMk cId="865606007" sldId="279"/>
            <ac:spMk id="89" creationId="{46C5B14F-F66C-575B-4B6B-F1CFFBF3CD5B}"/>
          </ac:spMkLst>
        </pc:spChg>
        <pc:spChg chg="del mod">
          <ac:chgData name="Oğuz Öztekin" userId="33c0df0f-d5fe-4bda-8f43-141ad7af67e3" providerId="ADAL" clId="{18BFCD08-9838-4C62-912A-E59CEE905FD1}" dt="2024-12-17T08:27:24.709" v="7362"/>
          <ac:spMkLst>
            <pc:docMk/>
            <pc:sldMk cId="865606007" sldId="279"/>
            <ac:spMk id="90" creationId="{1E532F6A-44D2-41C8-48E8-77B62F230E8F}"/>
          </ac:spMkLst>
        </pc:spChg>
        <pc:spChg chg="del mod">
          <ac:chgData name="Oğuz Öztekin" userId="33c0df0f-d5fe-4bda-8f43-141ad7af67e3" providerId="ADAL" clId="{18BFCD08-9838-4C62-912A-E59CEE905FD1}" dt="2024-12-17T08:27:24.709" v="7363"/>
          <ac:spMkLst>
            <pc:docMk/>
            <pc:sldMk cId="865606007" sldId="279"/>
            <ac:spMk id="91" creationId="{B8845E64-9530-3F5D-C78C-9077E9F465FC}"/>
          </ac:spMkLst>
        </pc:spChg>
        <pc:spChg chg="del mod">
          <ac:chgData name="Oğuz Öztekin" userId="33c0df0f-d5fe-4bda-8f43-141ad7af67e3" providerId="ADAL" clId="{18BFCD08-9838-4C62-912A-E59CEE905FD1}" dt="2024-12-17T08:27:24.709" v="7364"/>
          <ac:spMkLst>
            <pc:docMk/>
            <pc:sldMk cId="865606007" sldId="279"/>
            <ac:spMk id="92" creationId="{0F383885-2383-3CDD-8753-28134366C8DB}"/>
          </ac:spMkLst>
        </pc:spChg>
        <pc:spChg chg="add del mod modVis">
          <ac:chgData name="Oğuz Öztekin" userId="33c0df0f-d5fe-4bda-8f43-141ad7af67e3" providerId="ADAL" clId="{18BFCD08-9838-4C62-912A-E59CEE905FD1}" dt="2024-12-17T08:25:48.431" v="5998"/>
          <ac:spMkLst>
            <pc:docMk/>
            <pc:sldMk cId="865606007" sldId="279"/>
            <ac:spMk id="93" creationId="{2A1CD9D5-07B4-F09B-817A-C961341E3BBC}"/>
          </ac:spMkLst>
        </pc:spChg>
        <pc:spChg chg="add mod ord">
          <ac:chgData name="Oğuz Öztekin" userId="33c0df0f-d5fe-4bda-8f43-141ad7af67e3" providerId="ADAL" clId="{18BFCD08-9838-4C62-912A-E59CEE905FD1}" dt="2024-12-17T08:34:44.431" v="26874"/>
          <ac:spMkLst>
            <pc:docMk/>
            <pc:sldMk cId="865606007" sldId="279"/>
            <ac:spMk id="95" creationId="{73BED20A-D9C6-A0FD-2C31-655F28E86994}"/>
          </ac:spMkLst>
        </pc:spChg>
        <pc:spChg chg="add del mod modVis">
          <ac:chgData name="Oğuz Öztekin" userId="33c0df0f-d5fe-4bda-8f43-141ad7af67e3" providerId="ADAL" clId="{18BFCD08-9838-4C62-912A-E59CEE905FD1}" dt="2024-12-17T08:28:08.002" v="8928"/>
          <ac:spMkLst>
            <pc:docMk/>
            <pc:sldMk cId="865606007" sldId="279"/>
            <ac:spMk id="161" creationId="{0896AFEA-1557-43B1-A1C0-354A58A6E45F}"/>
          </ac:spMkLst>
        </pc:spChg>
        <pc:spChg chg="add del mod modVis">
          <ac:chgData name="Oğuz Öztekin" userId="33c0df0f-d5fe-4bda-8f43-141ad7af67e3" providerId="ADAL" clId="{18BFCD08-9838-4C62-912A-E59CEE905FD1}" dt="2024-12-17T08:28:15.072" v="9088"/>
          <ac:spMkLst>
            <pc:docMk/>
            <pc:sldMk cId="865606007" sldId="279"/>
            <ac:spMk id="163" creationId="{6F521882-BA4A-393A-C769-9E7D06EF55FD}"/>
          </ac:spMkLst>
        </pc:spChg>
        <pc:spChg chg="add mod ord">
          <ac:chgData name="Oğuz Öztekin" userId="33c0df0f-d5fe-4bda-8f43-141ad7af67e3" providerId="ADAL" clId="{18BFCD08-9838-4C62-912A-E59CEE905FD1}" dt="2024-12-17T08:34:44.432" v="26876"/>
          <ac:spMkLst>
            <pc:docMk/>
            <pc:sldMk cId="865606007" sldId="279"/>
            <ac:spMk id="165" creationId="{B8E469FE-CCA0-03FF-087B-BA3E02ED72DB}"/>
          </ac:spMkLst>
        </pc:spChg>
        <pc:spChg chg="add del mod modVis">
          <ac:chgData name="Oğuz Öztekin" userId="33c0df0f-d5fe-4bda-8f43-141ad7af67e3" providerId="ADAL" clId="{18BFCD08-9838-4C62-912A-E59CEE905FD1}" dt="2024-12-17T08:29:01.266" v="9388"/>
          <ac:spMkLst>
            <pc:docMk/>
            <pc:sldMk cId="865606007" sldId="279"/>
            <ac:spMk id="166" creationId="{6A6CE901-9682-6DA8-FDD7-AEF75BBB8966}"/>
          </ac:spMkLst>
        </pc:spChg>
        <pc:spChg chg="add del mod">
          <ac:chgData name="Oğuz Öztekin" userId="33c0df0f-d5fe-4bda-8f43-141ad7af67e3" providerId="ADAL" clId="{18BFCD08-9838-4C62-912A-E59CEE905FD1}" dt="2024-12-17T08:29:17.140" v="9590"/>
          <ac:spMkLst>
            <pc:docMk/>
            <pc:sldMk cId="865606007" sldId="279"/>
            <ac:spMk id="167" creationId="{47CD3644-2A8E-EE44-097F-6DC03F281116}"/>
          </ac:spMkLst>
        </pc:spChg>
        <pc:spChg chg="add del mod">
          <ac:chgData name="Oğuz Öztekin" userId="33c0df0f-d5fe-4bda-8f43-141ad7af67e3" providerId="ADAL" clId="{18BFCD08-9838-4C62-912A-E59CEE905FD1}" dt="2024-12-17T08:29:17.140" v="9589"/>
          <ac:spMkLst>
            <pc:docMk/>
            <pc:sldMk cId="865606007" sldId="279"/>
            <ac:spMk id="168" creationId="{A161E657-FB8C-143B-9BB5-9F5130F3A331}"/>
          </ac:spMkLst>
        </pc:spChg>
        <pc:spChg chg="add del mod modVis">
          <ac:chgData name="Oğuz Öztekin" userId="33c0df0f-d5fe-4bda-8f43-141ad7af67e3" providerId="ADAL" clId="{18BFCD08-9838-4C62-912A-E59CEE905FD1}" dt="2024-12-17T08:29:11.172" v="9582"/>
          <ac:spMkLst>
            <pc:docMk/>
            <pc:sldMk cId="865606007" sldId="279"/>
            <ac:spMk id="171" creationId="{4EA53A4B-FD63-BC62-64F1-D4D377002F27}"/>
          </ac:spMkLst>
        </pc:spChg>
        <pc:spChg chg="add del mod modVis">
          <ac:chgData name="Oğuz Öztekin" userId="33c0df0f-d5fe-4bda-8f43-141ad7af67e3" providerId="ADAL" clId="{18BFCD08-9838-4C62-912A-E59CEE905FD1}" dt="2024-12-17T08:29:17.314" v="9836"/>
          <ac:spMkLst>
            <pc:docMk/>
            <pc:sldMk cId="865606007" sldId="279"/>
            <ac:spMk id="173" creationId="{3F95D1EF-F41A-BF52-5DB5-D47E04373ABF}"/>
          </ac:spMkLst>
        </pc:spChg>
        <pc:spChg chg="add del mod modVis">
          <ac:chgData name="Oğuz Öztekin" userId="33c0df0f-d5fe-4bda-8f43-141ad7af67e3" providerId="ADAL" clId="{18BFCD08-9838-4C62-912A-E59CEE905FD1}" dt="2024-12-17T08:29:31.979" v="10520"/>
          <ac:spMkLst>
            <pc:docMk/>
            <pc:sldMk cId="865606007" sldId="279"/>
            <ac:spMk id="175" creationId="{55E5E6B1-60F5-CA6E-B7F4-BC87C2B8EE29}"/>
          </ac:spMkLst>
        </pc:spChg>
        <pc:spChg chg="add del mod modVis">
          <ac:chgData name="Oğuz Öztekin" userId="33c0df0f-d5fe-4bda-8f43-141ad7af67e3" providerId="ADAL" clId="{18BFCD08-9838-4C62-912A-E59CEE905FD1}" dt="2024-12-17T08:29:30.713" v="10475"/>
          <ac:spMkLst>
            <pc:docMk/>
            <pc:sldMk cId="865606007" sldId="279"/>
            <ac:spMk id="177" creationId="{EA2352BB-D278-E799-292F-5F87C3E8495B}"/>
          </ac:spMkLst>
        </pc:spChg>
        <pc:spChg chg="add del mod modVis">
          <ac:chgData name="Oğuz Öztekin" userId="33c0df0f-d5fe-4bda-8f43-141ad7af67e3" providerId="ADAL" clId="{18BFCD08-9838-4C62-912A-E59CEE905FD1}" dt="2024-12-17T08:29:30.158" v="10431"/>
          <ac:spMkLst>
            <pc:docMk/>
            <pc:sldMk cId="865606007" sldId="279"/>
            <ac:spMk id="179" creationId="{56D5F55B-B13D-59E2-A53E-E8E9C9A3E9CD}"/>
          </ac:spMkLst>
        </pc:spChg>
        <pc:spChg chg="add mod">
          <ac:chgData name="Oğuz Öztekin" userId="33c0df0f-d5fe-4bda-8f43-141ad7af67e3" providerId="ADAL" clId="{18BFCD08-9838-4C62-912A-E59CEE905FD1}" dt="2024-12-17T08:29:30.158" v="10431"/>
          <ac:spMkLst>
            <pc:docMk/>
            <pc:sldMk cId="865606007" sldId="279"/>
            <ac:spMk id="180" creationId="{D2B96645-9331-4694-DDF2-4FAE94CA9079}"/>
          </ac:spMkLst>
        </pc:spChg>
        <pc:spChg chg="add mod">
          <ac:chgData name="Oğuz Öztekin" userId="33c0df0f-d5fe-4bda-8f43-141ad7af67e3" providerId="ADAL" clId="{18BFCD08-9838-4C62-912A-E59CEE905FD1}" dt="2024-12-17T08:29:30.158" v="10431"/>
          <ac:spMkLst>
            <pc:docMk/>
            <pc:sldMk cId="865606007" sldId="279"/>
            <ac:spMk id="181" creationId="{DDD58996-E64F-E145-7951-0F9496A239CC}"/>
          </ac:spMkLst>
        </pc:spChg>
        <pc:spChg chg="add del mod modVis">
          <ac:chgData name="Oğuz Öztekin" userId="33c0df0f-d5fe-4bda-8f43-141ad7af67e3" providerId="ADAL" clId="{18BFCD08-9838-4C62-912A-E59CEE905FD1}" dt="2024-12-17T08:29:37.500" v="10850"/>
          <ac:spMkLst>
            <pc:docMk/>
            <pc:sldMk cId="865606007" sldId="279"/>
            <ac:spMk id="183" creationId="{D211A107-1C49-A783-F6B2-DCDE21CDA842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186" creationId="{BA5FCA36-B7C5-A0E9-54D4-74AB3C3D0D2C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187" creationId="{E87CC727-488C-8105-2DD6-EA06657BE39F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188" creationId="{5865D945-7E5C-9986-78A1-1FE324FEFE0E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189" creationId="{6E65899F-A45D-B79D-9016-F901BE1755B3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190" creationId="{D64A5EE9-2D51-2793-5345-23D992642C2F}"/>
          </ac:spMkLst>
        </pc:spChg>
        <pc:spChg chg="add del mod">
          <ac:chgData name="Oğuz Öztekin" userId="33c0df0f-d5fe-4bda-8f43-141ad7af67e3" providerId="ADAL" clId="{18BFCD08-9838-4C62-912A-E59CEE905FD1}" dt="2024-12-17T08:34:44.430" v="26871"/>
          <ac:spMkLst>
            <pc:docMk/>
            <pc:sldMk cId="865606007" sldId="279"/>
            <ac:spMk id="191" creationId="{86DC1F13-D0DD-9BBB-F908-78DDC3218BD2}"/>
          </ac:spMkLst>
        </pc:spChg>
        <pc:spChg chg="add del mod">
          <ac:chgData name="Oğuz Öztekin" userId="33c0df0f-d5fe-4bda-8f43-141ad7af67e3" providerId="ADAL" clId="{18BFCD08-9838-4C62-912A-E59CEE905FD1}" dt="2024-12-17T08:34:44.431" v="26872"/>
          <ac:spMkLst>
            <pc:docMk/>
            <pc:sldMk cId="865606007" sldId="279"/>
            <ac:spMk id="192" creationId="{E7548B9C-1262-972C-27FE-B750D79D62B7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193" creationId="{BE076488-35F9-3790-18FB-66577A7BCAFE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194" creationId="{803EEDF7-4637-CD04-EE71-4321DDCF5C25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195" creationId="{E5EBE897-B86F-2C83-1ED5-1B2B579702AC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196" creationId="{C57270A6-F6C3-D6DF-63C7-09358BCAE142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197" creationId="{AEC35656-046B-73C9-580F-FAE69356A04A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198" creationId="{A2B2FCA9-935A-C018-9F00-93EC02F85469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00" creationId="{B2F2D457-DABD-D4A7-BE13-C6BE76115062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01" creationId="{51F46CA2-EC52-E046-49A2-2976946936B2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02" creationId="{8A2EF114-25DB-08F4-98E3-37ADF3FD27CE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03" creationId="{C2FF66C0-FDF8-57EB-30C7-D9E35A82188D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04" creationId="{1474DC70-7DFA-341A-91C5-4DD69BC198A0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05" creationId="{6B1E23B5-BB0A-5E16-92DF-195708EAABE9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06" creationId="{312273C1-26A7-7154-365F-E28ED7178838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07" creationId="{75B25A9A-8DA5-2B64-F284-9390A0A13F76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08" creationId="{44E1BAF8-1BD0-78B0-855C-49E785301F65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09" creationId="{41100E55-198A-842A-512F-2B65508945A4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10" creationId="{3023EFB8-8B33-5566-ADA7-CF5C70206B19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11" creationId="{DF6DC367-2C5F-9CFA-E17A-29E3489EA618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12" creationId="{00A6E72D-BB5F-77A9-5BC5-757632785B55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13" creationId="{4D30DE12-7971-31FC-21A0-40910E37E4C1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14" creationId="{5BB656D0-572D-A758-55E4-7FE3974D7FBD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15" creationId="{1B127008-A7F9-8D72-D21F-21DC9ED2A669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16" creationId="{71903D04-BAF8-5C1A-F5FD-DFF77F13BF73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17" creationId="{12140735-12D7-B73B-3C35-44FD390F6A2F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18" creationId="{FF3AB06C-4D2B-F75E-4290-5936515E9ECD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19" creationId="{071B89A9-FCB5-8CA8-B452-DC41F621370F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220" creationId="{CA812C4E-681F-3515-450A-014CA838C70C}"/>
          </ac:spMkLst>
        </pc:spChg>
        <pc:spChg chg="del mod">
          <ac:chgData name="Oğuz Öztekin" userId="33c0df0f-d5fe-4bda-8f43-141ad7af67e3" providerId="ADAL" clId="{18BFCD08-9838-4C62-912A-E59CEE905FD1}" dt="2024-12-17T08:20:45.967" v="207"/>
          <ac:spMkLst>
            <pc:docMk/>
            <pc:sldMk cId="865606007" sldId="279"/>
            <ac:spMk id="221" creationId="{B8179B09-98A2-595A-46DF-39AD2B1D7773}"/>
          </ac:spMkLst>
        </pc:spChg>
        <pc:spChg chg="del">
          <ac:chgData name="Oğuz Öztekin" userId="33c0df0f-d5fe-4bda-8f43-141ad7af67e3" providerId="ADAL" clId="{18BFCD08-9838-4C62-912A-E59CEE905FD1}" dt="2024-12-17T08:20:45.857" v="71"/>
          <ac:spMkLst>
            <pc:docMk/>
            <pc:sldMk cId="865606007" sldId="279"/>
            <ac:spMk id="222" creationId="{185B2310-253F-8645-8AEF-5285CB3C26BC}"/>
          </ac:spMkLst>
        </pc:spChg>
        <pc:spChg chg="del">
          <ac:chgData name="Oğuz Öztekin" userId="33c0df0f-d5fe-4bda-8f43-141ad7af67e3" providerId="ADAL" clId="{18BFCD08-9838-4C62-912A-E59CEE905FD1}" dt="2024-12-17T08:20:45.857" v="70"/>
          <ac:spMkLst>
            <pc:docMk/>
            <pc:sldMk cId="865606007" sldId="279"/>
            <ac:spMk id="223" creationId="{13BB4663-4071-3EAA-BC3A-7E52D58DE288}"/>
          </ac:spMkLst>
        </pc:spChg>
        <pc:spChg chg="add del mod">
          <ac:chgData name="Oğuz Öztekin" userId="33c0df0f-d5fe-4bda-8f43-141ad7af67e3" providerId="ADAL" clId="{18BFCD08-9838-4C62-912A-E59CEE905FD1}" dt="2024-12-17T08:20:58.739" v="2135"/>
          <ac:spMkLst>
            <pc:docMk/>
            <pc:sldMk cId="865606007" sldId="279"/>
            <ac:spMk id="256" creationId="{BF5E8E6D-2FC8-E8DC-5D6D-EFA08C0E97E0}"/>
          </ac:spMkLst>
        </pc:spChg>
        <pc:spChg chg="add del mod">
          <ac:chgData name="Oğuz Öztekin" userId="33c0df0f-d5fe-4bda-8f43-141ad7af67e3" providerId="ADAL" clId="{18BFCD08-9838-4C62-912A-E59CEE905FD1}" dt="2024-12-17T08:20:58.739" v="2134"/>
          <ac:spMkLst>
            <pc:docMk/>
            <pc:sldMk cId="865606007" sldId="279"/>
            <ac:spMk id="257" creationId="{2C4ADD36-A7DF-6CE9-8FC1-3CD7062DD4A1}"/>
          </ac:spMkLst>
        </pc:spChg>
        <pc:spChg chg="add del mod">
          <ac:chgData name="Oğuz Öztekin" userId="33c0df0f-d5fe-4bda-8f43-141ad7af67e3" providerId="ADAL" clId="{18BFCD08-9838-4C62-912A-E59CEE905FD1}" dt="2024-12-17T08:20:58.739" v="2133"/>
          <ac:spMkLst>
            <pc:docMk/>
            <pc:sldMk cId="865606007" sldId="279"/>
            <ac:spMk id="258" creationId="{33299FB2-3864-20BD-43A2-713B7AB8D51C}"/>
          </ac:spMkLst>
        </pc:spChg>
        <pc:spChg chg="add del mod">
          <ac:chgData name="Oğuz Öztekin" userId="33c0df0f-d5fe-4bda-8f43-141ad7af67e3" providerId="ADAL" clId="{18BFCD08-9838-4C62-912A-E59CEE905FD1}" dt="2024-12-17T08:20:58.739" v="2132"/>
          <ac:spMkLst>
            <pc:docMk/>
            <pc:sldMk cId="865606007" sldId="279"/>
            <ac:spMk id="259" creationId="{40EC1980-5594-16AF-6005-95C1B2E04C81}"/>
          </ac:spMkLst>
        </pc:spChg>
        <pc:spChg chg="add del mod">
          <ac:chgData name="Oğuz Öztekin" userId="33c0df0f-d5fe-4bda-8f43-141ad7af67e3" providerId="ADAL" clId="{18BFCD08-9838-4C62-912A-E59CEE905FD1}" dt="2024-12-17T08:20:58.739" v="2131"/>
          <ac:spMkLst>
            <pc:docMk/>
            <pc:sldMk cId="865606007" sldId="279"/>
            <ac:spMk id="260" creationId="{8ED1A6FA-E515-9F55-D28A-924B18245519}"/>
          </ac:spMkLst>
        </pc:spChg>
        <pc:spChg chg="add del mod">
          <ac:chgData name="Oğuz Öztekin" userId="33c0df0f-d5fe-4bda-8f43-141ad7af67e3" providerId="ADAL" clId="{18BFCD08-9838-4C62-912A-E59CEE905FD1}" dt="2024-12-17T08:20:58.739" v="2130"/>
          <ac:spMkLst>
            <pc:docMk/>
            <pc:sldMk cId="865606007" sldId="279"/>
            <ac:spMk id="261" creationId="{DCEF5485-6EC3-579C-5434-6B3738DF9FF9}"/>
          </ac:spMkLst>
        </pc:spChg>
        <pc:spChg chg="add del mod">
          <ac:chgData name="Oğuz Öztekin" userId="33c0df0f-d5fe-4bda-8f43-141ad7af67e3" providerId="ADAL" clId="{18BFCD08-9838-4C62-912A-E59CEE905FD1}" dt="2024-12-17T08:20:58.739" v="2129"/>
          <ac:spMkLst>
            <pc:docMk/>
            <pc:sldMk cId="865606007" sldId="279"/>
            <ac:spMk id="262" creationId="{B6C65081-1A09-06D5-673C-038B01D5E29B}"/>
          </ac:spMkLst>
        </pc:spChg>
        <pc:spChg chg="add del mod">
          <ac:chgData name="Oğuz Öztekin" userId="33c0df0f-d5fe-4bda-8f43-141ad7af67e3" providerId="ADAL" clId="{18BFCD08-9838-4C62-912A-E59CEE905FD1}" dt="2024-12-17T08:27:24.732" v="7404"/>
          <ac:spMkLst>
            <pc:docMk/>
            <pc:sldMk cId="865606007" sldId="279"/>
            <ac:spMk id="264" creationId="{793CFB99-FBDF-3575-8127-838C845132A2}"/>
          </ac:spMkLst>
        </pc:spChg>
        <pc:spChg chg="add del mod">
          <ac:chgData name="Oğuz Öztekin" userId="33c0df0f-d5fe-4bda-8f43-141ad7af67e3" providerId="ADAL" clId="{18BFCD08-9838-4C62-912A-E59CEE905FD1}" dt="2024-12-17T08:27:24.746" v="7427"/>
          <ac:spMkLst>
            <pc:docMk/>
            <pc:sldMk cId="865606007" sldId="279"/>
            <ac:spMk id="265" creationId="{7DB0E7E1-C943-C191-5007-1D0A2280FDA2}"/>
          </ac:spMkLst>
        </pc:spChg>
        <pc:spChg chg="add del mod modVis">
          <ac:chgData name="Oğuz Öztekin" userId="33c0df0f-d5fe-4bda-8f43-141ad7af67e3" providerId="ADAL" clId="{18BFCD08-9838-4C62-912A-E59CEE905FD1}" dt="2024-12-17T08:20:59.246" v="2979"/>
          <ac:spMkLst>
            <pc:docMk/>
            <pc:sldMk cId="865606007" sldId="279"/>
            <ac:spMk id="266" creationId="{B31F0FED-87F3-812F-14B7-0BF783039EE8}"/>
          </ac:spMkLst>
        </pc:spChg>
        <pc:spChg chg="add del mod">
          <ac:chgData name="Oğuz Öztekin" userId="33c0df0f-d5fe-4bda-8f43-141ad7af67e3" providerId="ADAL" clId="{18BFCD08-9838-4C62-912A-E59CEE905FD1}" dt="2024-12-17T08:21:59.109" v="4377"/>
          <ac:spMkLst>
            <pc:docMk/>
            <pc:sldMk cId="865606007" sldId="279"/>
            <ac:spMk id="267" creationId="{B2EE7825-6F05-2005-EB30-EA9C018A7EB5}"/>
          </ac:spMkLst>
        </pc:spChg>
        <pc:spChg chg="del mod">
          <ac:chgData name="Oğuz Öztekin" userId="33c0df0f-d5fe-4bda-8f43-141ad7af67e3" providerId="ADAL" clId="{18BFCD08-9838-4C62-912A-E59CEE905FD1}" dt="2024-12-17T08:20:45.967" v="211"/>
          <ac:spMkLst>
            <pc:docMk/>
            <pc:sldMk cId="865606007" sldId="279"/>
            <ac:spMk id="268" creationId="{FBE4ED5D-0E05-77BA-2004-42FB4B9EA7BD}"/>
          </ac:spMkLst>
        </pc:spChg>
        <pc:spChg chg="del mod">
          <ac:chgData name="Oğuz Öztekin" userId="33c0df0f-d5fe-4bda-8f43-141ad7af67e3" providerId="ADAL" clId="{18BFCD08-9838-4C62-912A-E59CEE905FD1}" dt="2024-12-17T08:20:45.967" v="210"/>
          <ac:spMkLst>
            <pc:docMk/>
            <pc:sldMk cId="865606007" sldId="279"/>
            <ac:spMk id="269" creationId="{B30F0261-9239-ED5F-A4CB-8E27C379B936}"/>
          </ac:spMkLst>
        </pc:spChg>
        <pc:spChg chg="del mod">
          <ac:chgData name="Oğuz Öztekin" userId="33c0df0f-d5fe-4bda-8f43-141ad7af67e3" providerId="ADAL" clId="{18BFCD08-9838-4C62-912A-E59CEE905FD1}" dt="2024-12-17T08:20:45.967" v="213"/>
          <ac:spMkLst>
            <pc:docMk/>
            <pc:sldMk cId="865606007" sldId="279"/>
            <ac:spMk id="270" creationId="{935541BB-05E9-9782-BD98-3C428806426C}"/>
          </ac:spMkLst>
        </pc:spChg>
        <pc:spChg chg="del mod">
          <ac:chgData name="Oğuz Öztekin" userId="33c0df0f-d5fe-4bda-8f43-141ad7af67e3" providerId="ADAL" clId="{18BFCD08-9838-4C62-912A-E59CEE905FD1}" dt="2024-12-17T08:20:45.967" v="212"/>
          <ac:spMkLst>
            <pc:docMk/>
            <pc:sldMk cId="865606007" sldId="279"/>
            <ac:spMk id="271" creationId="{E7B10EEB-7F37-4017-5F1F-BBF1BAEE4C3C}"/>
          </ac:spMkLst>
        </pc:spChg>
        <pc:spChg chg="del mod">
          <ac:chgData name="Oğuz Öztekin" userId="33c0df0f-d5fe-4bda-8f43-141ad7af67e3" providerId="ADAL" clId="{18BFCD08-9838-4C62-912A-E59CEE905FD1}" dt="2024-12-17T08:20:45.967" v="215"/>
          <ac:spMkLst>
            <pc:docMk/>
            <pc:sldMk cId="865606007" sldId="279"/>
            <ac:spMk id="272" creationId="{9A761D58-F679-88F9-8494-38B59BF5FAAA}"/>
          </ac:spMkLst>
        </pc:spChg>
        <pc:spChg chg="del mod">
          <ac:chgData name="Oğuz Öztekin" userId="33c0df0f-d5fe-4bda-8f43-141ad7af67e3" providerId="ADAL" clId="{18BFCD08-9838-4C62-912A-E59CEE905FD1}" dt="2024-12-17T08:20:45.967" v="214"/>
          <ac:spMkLst>
            <pc:docMk/>
            <pc:sldMk cId="865606007" sldId="279"/>
            <ac:spMk id="273" creationId="{31631A2C-A0A9-C0B7-13CC-8629F57D0AFD}"/>
          </ac:spMkLst>
        </pc:spChg>
        <pc:spChg chg="del mod">
          <ac:chgData name="Oğuz Öztekin" userId="33c0df0f-d5fe-4bda-8f43-141ad7af67e3" providerId="ADAL" clId="{18BFCD08-9838-4C62-912A-E59CEE905FD1}" dt="2024-12-17T08:20:45.967" v="217"/>
          <ac:spMkLst>
            <pc:docMk/>
            <pc:sldMk cId="865606007" sldId="279"/>
            <ac:spMk id="274" creationId="{A7632757-36BE-6160-CC64-3FA634A443A7}"/>
          </ac:spMkLst>
        </pc:spChg>
        <pc:spChg chg="del mod">
          <ac:chgData name="Oğuz Öztekin" userId="33c0df0f-d5fe-4bda-8f43-141ad7af67e3" providerId="ADAL" clId="{18BFCD08-9838-4C62-912A-E59CEE905FD1}" dt="2024-12-17T08:20:45.967" v="216"/>
          <ac:spMkLst>
            <pc:docMk/>
            <pc:sldMk cId="865606007" sldId="279"/>
            <ac:spMk id="275" creationId="{E6A566E6-11B1-CB1C-30C7-09F2C26943BE}"/>
          </ac:spMkLst>
        </pc:spChg>
        <pc:spChg chg="del mod">
          <ac:chgData name="Oğuz Öztekin" userId="33c0df0f-d5fe-4bda-8f43-141ad7af67e3" providerId="ADAL" clId="{18BFCD08-9838-4C62-912A-E59CEE905FD1}" dt="2024-12-17T08:20:45.967" v="219"/>
          <ac:spMkLst>
            <pc:docMk/>
            <pc:sldMk cId="865606007" sldId="279"/>
            <ac:spMk id="276" creationId="{501973E8-D1D2-4CAB-5800-54959F54006D}"/>
          </ac:spMkLst>
        </pc:spChg>
        <pc:spChg chg="del mod">
          <ac:chgData name="Oğuz Öztekin" userId="33c0df0f-d5fe-4bda-8f43-141ad7af67e3" providerId="ADAL" clId="{18BFCD08-9838-4C62-912A-E59CEE905FD1}" dt="2024-12-17T08:20:45.967" v="218"/>
          <ac:spMkLst>
            <pc:docMk/>
            <pc:sldMk cId="865606007" sldId="279"/>
            <ac:spMk id="277" creationId="{209FDB8B-3262-7872-8CB4-20F4F0991273}"/>
          </ac:spMkLst>
        </pc:spChg>
        <pc:spChg chg="del mod">
          <ac:chgData name="Oğuz Öztekin" userId="33c0df0f-d5fe-4bda-8f43-141ad7af67e3" providerId="ADAL" clId="{18BFCD08-9838-4C62-912A-E59CEE905FD1}" dt="2024-12-17T08:20:45.967" v="221"/>
          <ac:spMkLst>
            <pc:docMk/>
            <pc:sldMk cId="865606007" sldId="279"/>
            <ac:spMk id="278" creationId="{1707EC08-CE4E-371D-6359-3E30AAEB5A51}"/>
          </ac:spMkLst>
        </pc:spChg>
        <pc:spChg chg="del mod">
          <ac:chgData name="Oğuz Öztekin" userId="33c0df0f-d5fe-4bda-8f43-141ad7af67e3" providerId="ADAL" clId="{18BFCD08-9838-4C62-912A-E59CEE905FD1}" dt="2024-12-17T08:20:45.967" v="220"/>
          <ac:spMkLst>
            <pc:docMk/>
            <pc:sldMk cId="865606007" sldId="279"/>
            <ac:spMk id="279" creationId="{199A404E-7DB9-753B-FEA1-68DFCCD7D240}"/>
          </ac:spMkLst>
        </pc:spChg>
        <pc:spChg chg="del mod">
          <ac:chgData name="Oğuz Öztekin" userId="33c0df0f-d5fe-4bda-8f43-141ad7af67e3" providerId="ADAL" clId="{18BFCD08-9838-4C62-912A-E59CEE905FD1}" dt="2024-12-17T08:20:45.967" v="223"/>
          <ac:spMkLst>
            <pc:docMk/>
            <pc:sldMk cId="865606007" sldId="279"/>
            <ac:spMk id="280" creationId="{AFF845FA-EF97-70C5-0296-71501CE00308}"/>
          </ac:spMkLst>
        </pc:spChg>
        <pc:spChg chg="del mod">
          <ac:chgData name="Oğuz Öztekin" userId="33c0df0f-d5fe-4bda-8f43-141ad7af67e3" providerId="ADAL" clId="{18BFCD08-9838-4C62-912A-E59CEE905FD1}" dt="2024-12-17T08:20:45.967" v="222"/>
          <ac:spMkLst>
            <pc:docMk/>
            <pc:sldMk cId="865606007" sldId="279"/>
            <ac:spMk id="281" creationId="{561910B6-E590-EBD4-5638-F78BB476EF5F}"/>
          </ac:spMkLst>
        </pc:spChg>
        <pc:spChg chg="del mod">
          <ac:chgData name="Oğuz Öztekin" userId="33c0df0f-d5fe-4bda-8f43-141ad7af67e3" providerId="ADAL" clId="{18BFCD08-9838-4C62-912A-E59CEE905FD1}" dt="2024-12-17T08:20:45.967" v="225"/>
          <ac:spMkLst>
            <pc:docMk/>
            <pc:sldMk cId="865606007" sldId="279"/>
            <ac:spMk id="282" creationId="{CBDDD2CD-B828-CC72-1462-C3023BBE7043}"/>
          </ac:spMkLst>
        </pc:spChg>
        <pc:spChg chg="del mod">
          <ac:chgData name="Oğuz Öztekin" userId="33c0df0f-d5fe-4bda-8f43-141ad7af67e3" providerId="ADAL" clId="{18BFCD08-9838-4C62-912A-E59CEE905FD1}" dt="2024-12-17T08:20:45.967" v="224"/>
          <ac:spMkLst>
            <pc:docMk/>
            <pc:sldMk cId="865606007" sldId="279"/>
            <ac:spMk id="283" creationId="{169A6DC9-6AD6-5504-B4AD-2A062D56FC19}"/>
          </ac:spMkLst>
        </pc:spChg>
        <pc:spChg chg="del mod">
          <ac:chgData name="Oğuz Öztekin" userId="33c0df0f-d5fe-4bda-8f43-141ad7af67e3" providerId="ADAL" clId="{18BFCD08-9838-4C62-912A-E59CEE905FD1}" dt="2024-12-17T08:20:45.967" v="227"/>
          <ac:spMkLst>
            <pc:docMk/>
            <pc:sldMk cId="865606007" sldId="279"/>
            <ac:spMk id="284" creationId="{633A9120-A936-C358-A7F3-897FE625A055}"/>
          </ac:spMkLst>
        </pc:spChg>
        <pc:spChg chg="del mod">
          <ac:chgData name="Oğuz Öztekin" userId="33c0df0f-d5fe-4bda-8f43-141ad7af67e3" providerId="ADAL" clId="{18BFCD08-9838-4C62-912A-E59CEE905FD1}" dt="2024-12-17T08:20:45.967" v="226"/>
          <ac:spMkLst>
            <pc:docMk/>
            <pc:sldMk cId="865606007" sldId="279"/>
            <ac:spMk id="285" creationId="{AD7D3068-AB11-3035-7987-FC9E20FC3289}"/>
          </ac:spMkLst>
        </pc:spChg>
        <pc:spChg chg="del mod">
          <ac:chgData name="Oğuz Öztekin" userId="33c0df0f-d5fe-4bda-8f43-141ad7af67e3" providerId="ADAL" clId="{18BFCD08-9838-4C62-912A-E59CEE905FD1}" dt="2024-12-17T08:20:45.967" v="229"/>
          <ac:spMkLst>
            <pc:docMk/>
            <pc:sldMk cId="865606007" sldId="279"/>
            <ac:spMk id="286" creationId="{44F948F9-4B3E-A178-B651-47E82D5CF58A}"/>
          </ac:spMkLst>
        </pc:spChg>
        <pc:spChg chg="del mod">
          <ac:chgData name="Oğuz Öztekin" userId="33c0df0f-d5fe-4bda-8f43-141ad7af67e3" providerId="ADAL" clId="{18BFCD08-9838-4C62-912A-E59CEE905FD1}" dt="2024-12-17T08:20:45.967" v="228"/>
          <ac:spMkLst>
            <pc:docMk/>
            <pc:sldMk cId="865606007" sldId="279"/>
            <ac:spMk id="287" creationId="{2C852723-8FB9-A408-4818-683E6E043F20}"/>
          </ac:spMkLst>
        </pc:spChg>
        <pc:spChg chg="add del mod modVis">
          <ac:chgData name="Oğuz Öztekin" userId="33c0df0f-d5fe-4bda-8f43-141ad7af67e3" providerId="ADAL" clId="{18BFCD08-9838-4C62-912A-E59CEE905FD1}" dt="2024-12-17T08:27:18.206" v="6757"/>
          <ac:spMkLst>
            <pc:docMk/>
            <pc:sldMk cId="865606007" sldId="279"/>
            <ac:spMk id="352" creationId="{58FC63B2-1954-C94E-006B-C61333294B79}"/>
          </ac:spMkLst>
        </pc:spChg>
        <pc:spChg chg="add del mod">
          <ac:chgData name="Oğuz Öztekin" userId="33c0df0f-d5fe-4bda-8f43-141ad7af67e3" providerId="ADAL" clId="{18BFCD08-9838-4C62-912A-E59CEE905FD1}" dt="2024-12-17T08:27:24.316" v="6760"/>
          <ac:spMkLst>
            <pc:docMk/>
            <pc:sldMk cId="865606007" sldId="279"/>
            <ac:spMk id="353" creationId="{5E7FD69D-94C3-97EF-5AFC-7FBF52928D73}"/>
          </ac:spMkLst>
        </pc:spChg>
        <pc:spChg chg="add del mod">
          <ac:chgData name="Oğuz Öztekin" userId="33c0df0f-d5fe-4bda-8f43-141ad7af67e3" providerId="ADAL" clId="{18BFCD08-9838-4C62-912A-E59CEE905FD1}" dt="2024-12-17T08:27:24.316" v="6761"/>
          <ac:spMkLst>
            <pc:docMk/>
            <pc:sldMk cId="865606007" sldId="279"/>
            <ac:spMk id="354" creationId="{E6696F82-E811-4DF2-C895-930A139B7662}"/>
          </ac:spMkLst>
        </pc:spChg>
        <pc:spChg chg="add del mod">
          <ac:chgData name="Oğuz Öztekin" userId="33c0df0f-d5fe-4bda-8f43-141ad7af67e3" providerId="ADAL" clId="{18BFCD08-9838-4C62-912A-E59CEE905FD1}" dt="2024-12-17T08:27:24.316" v="6762"/>
          <ac:spMkLst>
            <pc:docMk/>
            <pc:sldMk cId="865606007" sldId="279"/>
            <ac:spMk id="355" creationId="{75AD33FA-1090-3F1B-0AD1-19E2A7E6891C}"/>
          </ac:spMkLst>
        </pc:spChg>
        <pc:spChg chg="add del mod">
          <ac:chgData name="Oğuz Öztekin" userId="33c0df0f-d5fe-4bda-8f43-141ad7af67e3" providerId="ADAL" clId="{18BFCD08-9838-4C62-912A-E59CEE905FD1}" dt="2024-12-17T08:27:24.316" v="6763"/>
          <ac:spMkLst>
            <pc:docMk/>
            <pc:sldMk cId="865606007" sldId="279"/>
            <ac:spMk id="356" creationId="{B15696FC-C663-97C3-1D8A-BE33E28F5AF9}"/>
          </ac:spMkLst>
        </pc:spChg>
        <pc:spChg chg="add del mod">
          <ac:chgData name="Oğuz Öztekin" userId="33c0df0f-d5fe-4bda-8f43-141ad7af67e3" providerId="ADAL" clId="{18BFCD08-9838-4C62-912A-E59CEE905FD1}" dt="2024-12-17T08:27:24.316" v="6764"/>
          <ac:spMkLst>
            <pc:docMk/>
            <pc:sldMk cId="865606007" sldId="279"/>
            <ac:spMk id="357" creationId="{B7847159-55E4-081E-35F2-48BC35AC305F}"/>
          </ac:spMkLst>
        </pc:spChg>
        <pc:spChg chg="add del mod">
          <ac:chgData name="Oğuz Öztekin" userId="33c0df0f-d5fe-4bda-8f43-141ad7af67e3" providerId="ADAL" clId="{18BFCD08-9838-4C62-912A-E59CEE905FD1}" dt="2024-12-17T08:27:24.316" v="6765"/>
          <ac:spMkLst>
            <pc:docMk/>
            <pc:sldMk cId="865606007" sldId="279"/>
            <ac:spMk id="358" creationId="{9618B68E-F1BD-CB2E-AEF9-87D21229A911}"/>
          </ac:spMkLst>
        </pc:spChg>
        <pc:spChg chg="add del mod">
          <ac:chgData name="Oğuz Öztekin" userId="33c0df0f-d5fe-4bda-8f43-141ad7af67e3" providerId="ADAL" clId="{18BFCD08-9838-4C62-912A-E59CEE905FD1}" dt="2024-12-17T08:27:24.316" v="6766"/>
          <ac:spMkLst>
            <pc:docMk/>
            <pc:sldMk cId="865606007" sldId="279"/>
            <ac:spMk id="359" creationId="{455C1DEA-9700-7634-74A5-9E56A781E93E}"/>
          </ac:spMkLst>
        </pc:spChg>
        <pc:spChg chg="add del mod">
          <ac:chgData name="Oğuz Öztekin" userId="33c0df0f-d5fe-4bda-8f43-141ad7af67e3" providerId="ADAL" clId="{18BFCD08-9838-4C62-912A-E59CEE905FD1}" dt="2024-12-17T08:27:24.316" v="6767"/>
          <ac:spMkLst>
            <pc:docMk/>
            <pc:sldMk cId="865606007" sldId="279"/>
            <ac:spMk id="360" creationId="{10492475-C582-4D5E-65EB-3E4C4B7427DC}"/>
          </ac:spMkLst>
        </pc:spChg>
        <pc:spChg chg="add del mod">
          <ac:chgData name="Oğuz Öztekin" userId="33c0df0f-d5fe-4bda-8f43-141ad7af67e3" providerId="ADAL" clId="{18BFCD08-9838-4C62-912A-E59CEE905FD1}" dt="2024-12-17T08:27:24.316" v="6768"/>
          <ac:spMkLst>
            <pc:docMk/>
            <pc:sldMk cId="865606007" sldId="279"/>
            <ac:spMk id="361" creationId="{2CAC419A-5A66-B4C1-DA7C-EB3CB7829006}"/>
          </ac:spMkLst>
        </pc:spChg>
        <pc:spChg chg="add del mod">
          <ac:chgData name="Oğuz Öztekin" userId="33c0df0f-d5fe-4bda-8f43-141ad7af67e3" providerId="ADAL" clId="{18BFCD08-9838-4C62-912A-E59CEE905FD1}" dt="2024-12-17T08:27:24.316" v="6769"/>
          <ac:spMkLst>
            <pc:docMk/>
            <pc:sldMk cId="865606007" sldId="279"/>
            <ac:spMk id="362" creationId="{1771205D-CA0F-8A90-7187-AA6B9747CCFA}"/>
          </ac:spMkLst>
        </pc:spChg>
        <pc:spChg chg="add del mod modVis">
          <ac:chgData name="Oğuz Öztekin" userId="33c0df0f-d5fe-4bda-8f43-141ad7af67e3" providerId="ADAL" clId="{18BFCD08-9838-4C62-912A-E59CEE905FD1}" dt="2024-12-17T08:27:24.748" v="7456"/>
          <ac:spMkLst>
            <pc:docMk/>
            <pc:sldMk cId="865606007" sldId="279"/>
            <ac:spMk id="364" creationId="{0E1ED076-3587-A1F9-B4FA-7B7524A20450}"/>
          </ac:spMkLst>
        </pc:spChg>
        <pc:spChg chg="add del mod">
          <ac:chgData name="Oğuz Öztekin" userId="33c0df0f-d5fe-4bda-8f43-141ad7af67e3" providerId="ADAL" clId="{18BFCD08-9838-4C62-912A-E59CEE905FD1}" dt="2024-12-17T08:30:35.099" v="15347"/>
          <ac:spMkLst>
            <pc:docMk/>
            <pc:sldMk cId="865606007" sldId="279"/>
            <ac:spMk id="365" creationId="{40E0F546-9231-BD4C-5F46-3BDE50254E69}"/>
          </ac:spMkLst>
        </pc:spChg>
        <pc:spChg chg="add del mod">
          <ac:chgData name="Oğuz Öztekin" userId="33c0df0f-d5fe-4bda-8f43-141ad7af67e3" providerId="ADAL" clId="{18BFCD08-9838-4C62-912A-E59CEE905FD1}" dt="2024-12-17T08:30:34.516" v="14541"/>
          <ac:spMkLst>
            <pc:docMk/>
            <pc:sldMk cId="865606007" sldId="279"/>
            <ac:spMk id="366" creationId="{FA47D519-9583-11E6-87D9-8BD263241303}"/>
          </ac:spMkLst>
        </pc:spChg>
        <pc:spChg chg="add del mod">
          <ac:chgData name="Oğuz Öztekin" userId="33c0df0f-d5fe-4bda-8f43-141ad7af67e3" providerId="ADAL" clId="{18BFCD08-9838-4C62-912A-E59CEE905FD1}" dt="2024-12-17T08:30:34.516" v="14540"/>
          <ac:spMkLst>
            <pc:docMk/>
            <pc:sldMk cId="865606007" sldId="279"/>
            <ac:spMk id="367" creationId="{9B85297A-35B8-8EC4-68AF-522636F47A2A}"/>
          </ac:spMkLst>
        </pc:spChg>
        <pc:spChg chg="add del mod">
          <ac:chgData name="Oğuz Öztekin" userId="33c0df0f-d5fe-4bda-8f43-141ad7af67e3" providerId="ADAL" clId="{18BFCD08-9838-4C62-912A-E59CEE905FD1}" dt="2024-12-17T08:30:34.516" v="14539"/>
          <ac:spMkLst>
            <pc:docMk/>
            <pc:sldMk cId="865606007" sldId="279"/>
            <ac:spMk id="368" creationId="{248DE0B1-85E0-39AE-507E-B4730B4123FC}"/>
          </ac:spMkLst>
        </pc:spChg>
        <pc:spChg chg="add del mod">
          <ac:chgData name="Oğuz Öztekin" userId="33c0df0f-d5fe-4bda-8f43-141ad7af67e3" providerId="ADAL" clId="{18BFCD08-9838-4C62-912A-E59CEE905FD1}" dt="2024-12-17T08:30:34.516" v="14538"/>
          <ac:spMkLst>
            <pc:docMk/>
            <pc:sldMk cId="865606007" sldId="279"/>
            <ac:spMk id="369" creationId="{04BF3704-D545-A808-D801-3D55988406EE}"/>
          </ac:spMkLst>
        </pc:spChg>
        <pc:spChg chg="add del mod">
          <ac:chgData name="Oğuz Öztekin" userId="33c0df0f-d5fe-4bda-8f43-141ad7af67e3" providerId="ADAL" clId="{18BFCD08-9838-4C62-912A-E59CEE905FD1}" dt="2024-12-17T08:30:34.516" v="14537"/>
          <ac:spMkLst>
            <pc:docMk/>
            <pc:sldMk cId="865606007" sldId="279"/>
            <ac:spMk id="370" creationId="{1E3F9A78-4BAF-02E9-CD82-AB5D6B12D580}"/>
          </ac:spMkLst>
        </pc:spChg>
        <pc:spChg chg="add del mod">
          <ac:chgData name="Oğuz Öztekin" userId="33c0df0f-d5fe-4bda-8f43-141ad7af67e3" providerId="ADAL" clId="{18BFCD08-9838-4C62-912A-E59CEE905FD1}" dt="2024-12-17T08:30:34.516" v="14536"/>
          <ac:spMkLst>
            <pc:docMk/>
            <pc:sldMk cId="865606007" sldId="279"/>
            <ac:spMk id="371" creationId="{C56350CB-BF71-4E25-8AF0-8C9F27644330}"/>
          </ac:spMkLst>
        </pc:spChg>
        <pc:spChg chg="add del mod">
          <ac:chgData name="Oğuz Öztekin" userId="33c0df0f-d5fe-4bda-8f43-141ad7af67e3" providerId="ADAL" clId="{18BFCD08-9838-4C62-912A-E59CEE905FD1}" dt="2024-12-17T08:34:44.387" v="26826"/>
          <ac:spMkLst>
            <pc:docMk/>
            <pc:sldMk cId="865606007" sldId="279"/>
            <ac:spMk id="372" creationId="{310E6C84-2E28-BE0C-0F90-839A3482CBF3}"/>
          </ac:spMkLst>
        </pc:spChg>
        <pc:spChg chg="add del mod">
          <ac:chgData name="Oğuz Öztekin" userId="33c0df0f-d5fe-4bda-8f43-141ad7af67e3" providerId="ADAL" clId="{18BFCD08-9838-4C62-912A-E59CEE905FD1}" dt="2024-12-17T08:30:34.516" v="14535"/>
          <ac:spMkLst>
            <pc:docMk/>
            <pc:sldMk cId="865606007" sldId="279"/>
            <ac:spMk id="373" creationId="{9E272651-DE20-0F2A-4BB0-A4249A8158F0}"/>
          </ac:spMkLst>
        </pc:spChg>
        <pc:spChg chg="add del mod">
          <ac:chgData name="Oğuz Öztekin" userId="33c0df0f-d5fe-4bda-8f43-141ad7af67e3" providerId="ADAL" clId="{18BFCD08-9838-4C62-912A-E59CEE905FD1}" dt="2024-12-17T08:30:34.516" v="14534"/>
          <ac:spMkLst>
            <pc:docMk/>
            <pc:sldMk cId="865606007" sldId="279"/>
            <ac:spMk id="374" creationId="{B22390AD-078C-11F3-50B1-E9AE9202D24B}"/>
          </ac:spMkLst>
        </pc:spChg>
        <pc:spChg chg="add del mod">
          <ac:chgData name="Oğuz Öztekin" userId="33c0df0f-d5fe-4bda-8f43-141ad7af67e3" providerId="ADAL" clId="{18BFCD08-9838-4C62-912A-E59CEE905FD1}" dt="2024-12-17T08:30:34.516" v="14533"/>
          <ac:spMkLst>
            <pc:docMk/>
            <pc:sldMk cId="865606007" sldId="279"/>
            <ac:spMk id="375" creationId="{89E7C663-99D0-3FAC-BCAE-F05E9D631651}"/>
          </ac:spMkLst>
        </pc:spChg>
        <pc:spChg chg="add del mod">
          <ac:chgData name="Oğuz Öztekin" userId="33c0df0f-d5fe-4bda-8f43-141ad7af67e3" providerId="ADAL" clId="{18BFCD08-9838-4C62-912A-E59CEE905FD1}" dt="2024-12-17T08:30:34.516" v="14532"/>
          <ac:spMkLst>
            <pc:docMk/>
            <pc:sldMk cId="865606007" sldId="279"/>
            <ac:spMk id="376" creationId="{3B655E97-8736-74BC-8F9A-D62306ECE77B}"/>
          </ac:spMkLst>
        </pc:spChg>
        <pc:spChg chg="add del mod modVis">
          <ac:chgData name="Oğuz Öztekin" userId="33c0df0f-d5fe-4bda-8f43-141ad7af67e3" providerId="ADAL" clId="{18BFCD08-9838-4C62-912A-E59CEE905FD1}" dt="2024-12-17T08:27:35.588" v="8504"/>
          <ac:spMkLst>
            <pc:docMk/>
            <pc:sldMk cId="865606007" sldId="279"/>
            <ac:spMk id="380" creationId="{620DE5B3-EB10-9402-AF57-EB0224EAC04F}"/>
          </ac:spMkLst>
        </pc:spChg>
        <pc:spChg chg="add del mod">
          <ac:chgData name="Oğuz Öztekin" userId="33c0df0f-d5fe-4bda-8f43-141ad7af67e3" providerId="ADAL" clId="{18BFCD08-9838-4C62-912A-E59CEE905FD1}" dt="2024-12-17T08:34:44.388" v="26827"/>
          <ac:spMkLst>
            <pc:docMk/>
            <pc:sldMk cId="865606007" sldId="279"/>
            <ac:spMk id="381" creationId="{42A1D079-713B-A0C9-F5CF-087216F3D703}"/>
          </ac:spMkLst>
        </pc:spChg>
        <pc:spChg chg="add del mod">
          <ac:chgData name="Oğuz Öztekin" userId="33c0df0f-d5fe-4bda-8f43-141ad7af67e3" providerId="ADAL" clId="{18BFCD08-9838-4C62-912A-E59CEE905FD1}" dt="2024-12-17T08:34:44.389" v="26828"/>
          <ac:spMkLst>
            <pc:docMk/>
            <pc:sldMk cId="865606007" sldId="279"/>
            <ac:spMk id="382" creationId="{6FCFEF43-7C59-EC41-493C-3675011187A8}"/>
          </ac:spMkLst>
        </pc:spChg>
        <pc:spChg chg="add del mod">
          <ac:chgData name="Oğuz Öztekin" userId="33c0df0f-d5fe-4bda-8f43-141ad7af67e3" providerId="ADAL" clId="{18BFCD08-9838-4C62-912A-E59CEE905FD1}" dt="2024-12-17T08:34:44.391" v="26830"/>
          <ac:spMkLst>
            <pc:docMk/>
            <pc:sldMk cId="865606007" sldId="279"/>
            <ac:spMk id="383" creationId="{4A836DCE-3C95-FD0B-4B48-33B2A6B1208B}"/>
          </ac:spMkLst>
        </pc:spChg>
        <pc:spChg chg="del">
          <ac:chgData name="Oğuz Öztekin" userId="33c0df0f-d5fe-4bda-8f43-141ad7af67e3" providerId="ADAL" clId="{18BFCD08-9838-4C62-912A-E59CEE905FD1}" dt="2024-12-17T08:20:45.857" v="69"/>
          <ac:spMkLst>
            <pc:docMk/>
            <pc:sldMk cId="865606007" sldId="279"/>
            <ac:spMk id="384" creationId="{A7E0EA48-A134-72AC-D2F5-349473F73309}"/>
          </ac:spMkLst>
        </pc:spChg>
        <pc:spChg chg="del">
          <ac:chgData name="Oğuz Öztekin" userId="33c0df0f-d5fe-4bda-8f43-141ad7af67e3" providerId="ADAL" clId="{18BFCD08-9838-4C62-912A-E59CEE905FD1}" dt="2024-12-17T08:20:45.857" v="68"/>
          <ac:spMkLst>
            <pc:docMk/>
            <pc:sldMk cId="865606007" sldId="279"/>
            <ac:spMk id="385" creationId="{8D65F5A7-74B0-2F96-F32A-68842753474B}"/>
          </ac:spMkLst>
        </pc:spChg>
        <pc:spChg chg="del">
          <ac:chgData name="Oğuz Öztekin" userId="33c0df0f-d5fe-4bda-8f43-141ad7af67e3" providerId="ADAL" clId="{18BFCD08-9838-4C62-912A-E59CEE905FD1}" dt="2024-12-17T08:20:45.857" v="67"/>
          <ac:spMkLst>
            <pc:docMk/>
            <pc:sldMk cId="865606007" sldId="279"/>
            <ac:spMk id="386" creationId="{352073B7-1C94-1BF7-CBC6-F74F1D0780AB}"/>
          </ac:spMkLst>
        </pc:spChg>
        <pc:spChg chg="del">
          <ac:chgData name="Oğuz Öztekin" userId="33c0df0f-d5fe-4bda-8f43-141ad7af67e3" providerId="ADAL" clId="{18BFCD08-9838-4C62-912A-E59CEE905FD1}" dt="2024-12-17T08:20:45.857" v="66"/>
          <ac:spMkLst>
            <pc:docMk/>
            <pc:sldMk cId="865606007" sldId="279"/>
            <ac:spMk id="387" creationId="{0BCA465B-D73D-F04D-7B72-6C51076C4F8F}"/>
          </ac:spMkLst>
        </pc:spChg>
        <pc:spChg chg="del">
          <ac:chgData name="Oğuz Öztekin" userId="33c0df0f-d5fe-4bda-8f43-141ad7af67e3" providerId="ADAL" clId="{18BFCD08-9838-4C62-912A-E59CEE905FD1}" dt="2024-12-17T08:20:45.857" v="65"/>
          <ac:spMkLst>
            <pc:docMk/>
            <pc:sldMk cId="865606007" sldId="279"/>
            <ac:spMk id="388" creationId="{0883C35F-F05A-3E16-E2E0-F33929389B6B}"/>
          </ac:spMkLst>
        </pc:spChg>
        <pc:spChg chg="del">
          <ac:chgData name="Oğuz Öztekin" userId="33c0df0f-d5fe-4bda-8f43-141ad7af67e3" providerId="ADAL" clId="{18BFCD08-9838-4C62-912A-E59CEE905FD1}" dt="2024-12-17T08:20:45.857" v="64"/>
          <ac:spMkLst>
            <pc:docMk/>
            <pc:sldMk cId="865606007" sldId="279"/>
            <ac:spMk id="389" creationId="{0FCDB1E5-052A-CD89-48B7-B611DA4C4447}"/>
          </ac:spMkLst>
        </pc:spChg>
        <pc:spChg chg="del">
          <ac:chgData name="Oğuz Öztekin" userId="33c0df0f-d5fe-4bda-8f43-141ad7af67e3" providerId="ADAL" clId="{18BFCD08-9838-4C62-912A-E59CEE905FD1}" dt="2024-12-17T08:20:45.857" v="63"/>
          <ac:spMkLst>
            <pc:docMk/>
            <pc:sldMk cId="865606007" sldId="279"/>
            <ac:spMk id="390" creationId="{A12D6AB6-5831-0596-8EFC-55206B9335C9}"/>
          </ac:spMkLst>
        </pc:spChg>
        <pc:spChg chg="del">
          <ac:chgData name="Oğuz Öztekin" userId="33c0df0f-d5fe-4bda-8f43-141ad7af67e3" providerId="ADAL" clId="{18BFCD08-9838-4C62-912A-E59CEE905FD1}" dt="2024-12-17T08:20:45.857" v="62"/>
          <ac:spMkLst>
            <pc:docMk/>
            <pc:sldMk cId="865606007" sldId="279"/>
            <ac:spMk id="391" creationId="{7100CBBA-DA57-09D1-022C-620123F82764}"/>
          </ac:spMkLst>
        </pc:spChg>
        <pc:spChg chg="del">
          <ac:chgData name="Oğuz Öztekin" userId="33c0df0f-d5fe-4bda-8f43-141ad7af67e3" providerId="ADAL" clId="{18BFCD08-9838-4C62-912A-E59CEE905FD1}" dt="2024-12-17T08:20:45.857" v="61"/>
          <ac:spMkLst>
            <pc:docMk/>
            <pc:sldMk cId="865606007" sldId="279"/>
            <ac:spMk id="392" creationId="{FA9065CE-B31C-9294-BBBA-8C89CF2A3251}"/>
          </ac:spMkLst>
        </pc:spChg>
        <pc:spChg chg="add del mod">
          <ac:chgData name="Oğuz Öztekin" userId="33c0df0f-d5fe-4bda-8f43-141ad7af67e3" providerId="ADAL" clId="{18BFCD08-9838-4C62-912A-E59CEE905FD1}" dt="2024-12-17T08:34:44.392" v="26831"/>
          <ac:spMkLst>
            <pc:docMk/>
            <pc:sldMk cId="865606007" sldId="279"/>
            <ac:spMk id="393" creationId="{F43A3580-5651-9EA6-CC84-6E53F01F0F9A}"/>
          </ac:spMkLst>
        </pc:spChg>
        <pc:spChg chg="add del mod ord">
          <ac:chgData name="Oğuz Öztekin" userId="33c0df0f-d5fe-4bda-8f43-141ad7af67e3" providerId="ADAL" clId="{18BFCD08-9838-4C62-912A-E59CEE905FD1}" dt="2024-12-17T08:34:44.394" v="26833"/>
          <ac:spMkLst>
            <pc:docMk/>
            <pc:sldMk cId="865606007" sldId="279"/>
            <ac:spMk id="394" creationId="{73C5E53B-AE6E-4347-B468-F67263016C91}"/>
          </ac:spMkLst>
        </pc:spChg>
        <pc:spChg chg="add del mod">
          <ac:chgData name="Oğuz Öztekin" userId="33c0df0f-d5fe-4bda-8f43-141ad7af67e3" providerId="ADAL" clId="{18BFCD08-9838-4C62-912A-E59CEE905FD1}" dt="2024-12-17T08:34:44.395" v="26834"/>
          <ac:spMkLst>
            <pc:docMk/>
            <pc:sldMk cId="865606007" sldId="279"/>
            <ac:spMk id="395" creationId="{A4EBD5D5-D1BD-7654-20DF-F0B275F6C7C7}"/>
          </ac:spMkLst>
        </pc:spChg>
        <pc:spChg chg="add del mod ord">
          <ac:chgData name="Oğuz Öztekin" userId="33c0df0f-d5fe-4bda-8f43-141ad7af67e3" providerId="ADAL" clId="{18BFCD08-9838-4C62-912A-E59CEE905FD1}" dt="2024-12-17T08:34:44.397" v="26836"/>
          <ac:spMkLst>
            <pc:docMk/>
            <pc:sldMk cId="865606007" sldId="279"/>
            <ac:spMk id="396" creationId="{5F123FEA-FF29-41A1-1C2B-EA3F50D54550}"/>
          </ac:spMkLst>
        </pc:spChg>
        <pc:spChg chg="add del mod">
          <ac:chgData name="Oğuz Öztekin" userId="33c0df0f-d5fe-4bda-8f43-141ad7af67e3" providerId="ADAL" clId="{18BFCD08-9838-4C62-912A-E59CEE905FD1}" dt="2024-12-17T08:34:44.398" v="26837"/>
          <ac:spMkLst>
            <pc:docMk/>
            <pc:sldMk cId="865606007" sldId="279"/>
            <ac:spMk id="397" creationId="{1FC16482-714E-9D46-968E-5F7A3562502C}"/>
          </ac:spMkLst>
        </pc:spChg>
        <pc:spChg chg="add del mod ord">
          <ac:chgData name="Oğuz Öztekin" userId="33c0df0f-d5fe-4bda-8f43-141ad7af67e3" providerId="ADAL" clId="{18BFCD08-9838-4C62-912A-E59CEE905FD1}" dt="2024-12-17T08:34:44.400" v="26839"/>
          <ac:spMkLst>
            <pc:docMk/>
            <pc:sldMk cId="865606007" sldId="279"/>
            <ac:spMk id="398" creationId="{5AF58F56-CFAE-68D6-2DE7-CF81350CCC6A}"/>
          </ac:spMkLst>
        </pc:spChg>
        <pc:spChg chg="add del mod">
          <ac:chgData name="Oğuz Öztekin" userId="33c0df0f-d5fe-4bda-8f43-141ad7af67e3" providerId="ADAL" clId="{18BFCD08-9838-4C62-912A-E59CEE905FD1}" dt="2024-12-17T08:34:44.401" v="26840"/>
          <ac:spMkLst>
            <pc:docMk/>
            <pc:sldMk cId="865606007" sldId="279"/>
            <ac:spMk id="399" creationId="{5259F927-3804-DD26-9A9E-568812CDCDE5}"/>
          </ac:spMkLst>
        </pc:spChg>
        <pc:spChg chg="add del mod">
          <ac:chgData name="Oğuz Öztekin" userId="33c0df0f-d5fe-4bda-8f43-141ad7af67e3" providerId="ADAL" clId="{18BFCD08-9838-4C62-912A-E59CEE905FD1}" dt="2024-12-17T08:34:44.403" v="26842"/>
          <ac:spMkLst>
            <pc:docMk/>
            <pc:sldMk cId="865606007" sldId="279"/>
            <ac:spMk id="400" creationId="{60800E9C-1107-BD27-01A4-C8B285BD962B}"/>
          </ac:spMkLst>
        </pc:spChg>
        <pc:spChg chg="add del mod">
          <ac:chgData name="Oğuz Öztekin" userId="33c0df0f-d5fe-4bda-8f43-141ad7af67e3" providerId="ADAL" clId="{18BFCD08-9838-4C62-912A-E59CEE905FD1}" dt="2024-12-17T08:34:44.404" v="26843"/>
          <ac:spMkLst>
            <pc:docMk/>
            <pc:sldMk cId="865606007" sldId="279"/>
            <ac:spMk id="401" creationId="{97906A1B-EC8D-7C0F-BB4C-C85FC542170C}"/>
          </ac:spMkLst>
        </pc:spChg>
        <pc:spChg chg="add del mod">
          <ac:chgData name="Oğuz Öztekin" userId="33c0df0f-d5fe-4bda-8f43-141ad7af67e3" providerId="ADAL" clId="{18BFCD08-9838-4C62-912A-E59CEE905FD1}" dt="2024-12-17T08:34:44.406" v="26845"/>
          <ac:spMkLst>
            <pc:docMk/>
            <pc:sldMk cId="865606007" sldId="279"/>
            <ac:spMk id="402" creationId="{E61A2D8F-9F67-1E54-0B93-7C6CC0250B58}"/>
          </ac:spMkLst>
        </pc:spChg>
        <pc:spChg chg="add del mod">
          <ac:chgData name="Oğuz Öztekin" userId="33c0df0f-d5fe-4bda-8f43-141ad7af67e3" providerId="ADAL" clId="{18BFCD08-9838-4C62-912A-E59CEE905FD1}" dt="2024-12-17T08:34:44.407" v="26846"/>
          <ac:spMkLst>
            <pc:docMk/>
            <pc:sldMk cId="865606007" sldId="279"/>
            <ac:spMk id="403" creationId="{A929D545-6750-20A7-03AD-8AE584B3C044}"/>
          </ac:spMkLst>
        </pc:spChg>
        <pc:spChg chg="add del mod">
          <ac:chgData name="Oğuz Öztekin" userId="33c0df0f-d5fe-4bda-8f43-141ad7af67e3" providerId="ADAL" clId="{18BFCD08-9838-4C62-912A-E59CEE905FD1}" dt="2024-12-17T08:34:44.409" v="26848"/>
          <ac:spMkLst>
            <pc:docMk/>
            <pc:sldMk cId="865606007" sldId="279"/>
            <ac:spMk id="404" creationId="{99E6122F-2428-534D-7172-887B2D4DD500}"/>
          </ac:spMkLst>
        </pc:spChg>
        <pc:spChg chg="add del mod">
          <ac:chgData name="Oğuz Öztekin" userId="33c0df0f-d5fe-4bda-8f43-141ad7af67e3" providerId="ADAL" clId="{18BFCD08-9838-4C62-912A-E59CEE905FD1}" dt="2024-12-17T08:34:44.417" v="26856"/>
          <ac:spMkLst>
            <pc:docMk/>
            <pc:sldMk cId="865606007" sldId="279"/>
            <ac:spMk id="405" creationId="{7E370DFD-1E7F-E29C-D4DC-02C904F14E04}"/>
          </ac:spMkLst>
        </pc:spChg>
        <pc:spChg chg="add del mod">
          <ac:chgData name="Oğuz Öztekin" userId="33c0df0f-d5fe-4bda-8f43-141ad7af67e3" providerId="ADAL" clId="{18BFCD08-9838-4C62-912A-E59CEE905FD1}" dt="2024-12-17T08:34:44.410" v="26849"/>
          <ac:spMkLst>
            <pc:docMk/>
            <pc:sldMk cId="865606007" sldId="279"/>
            <ac:spMk id="406" creationId="{1616FB6C-6C35-3956-C88F-BA704720450A}"/>
          </ac:spMkLst>
        </pc:spChg>
        <pc:spChg chg="add del mod">
          <ac:chgData name="Oğuz Öztekin" userId="33c0df0f-d5fe-4bda-8f43-141ad7af67e3" providerId="ADAL" clId="{18BFCD08-9838-4C62-912A-E59CEE905FD1}" dt="2024-12-17T08:34:33.620" v="25993"/>
          <ac:spMkLst>
            <pc:docMk/>
            <pc:sldMk cId="865606007" sldId="279"/>
            <ac:spMk id="407" creationId="{7F1545ED-D2E0-5DB8-22B4-371CF39EAE35}"/>
          </ac:spMkLst>
        </pc:spChg>
        <pc:spChg chg="add del mod">
          <ac:chgData name="Oğuz Öztekin" userId="33c0df0f-d5fe-4bda-8f43-141ad7af67e3" providerId="ADAL" clId="{18BFCD08-9838-4C62-912A-E59CEE905FD1}" dt="2024-12-17T08:34:44.412" v="26851"/>
          <ac:spMkLst>
            <pc:docMk/>
            <pc:sldMk cId="865606007" sldId="279"/>
            <ac:spMk id="408" creationId="{BB92F091-73A6-5353-8FC9-ADC6FD4F3EC3}"/>
          </ac:spMkLst>
        </pc:spChg>
        <pc:spChg chg="add del mod">
          <ac:chgData name="Oğuz Öztekin" userId="33c0df0f-d5fe-4bda-8f43-141ad7af67e3" providerId="ADAL" clId="{18BFCD08-9838-4C62-912A-E59CEE905FD1}" dt="2024-12-17T08:34:44.414" v="26853"/>
          <ac:spMkLst>
            <pc:docMk/>
            <pc:sldMk cId="865606007" sldId="279"/>
            <ac:spMk id="409" creationId="{8AF6724C-3E2F-33F9-7134-185F5BC6C3F2}"/>
          </ac:spMkLst>
        </pc:spChg>
        <pc:spChg chg="add del mod">
          <ac:chgData name="Oğuz Öztekin" userId="33c0df0f-d5fe-4bda-8f43-141ad7af67e3" providerId="ADAL" clId="{18BFCD08-9838-4C62-912A-E59CEE905FD1}" dt="2024-12-17T08:34:44.415" v="26854"/>
          <ac:spMkLst>
            <pc:docMk/>
            <pc:sldMk cId="865606007" sldId="279"/>
            <ac:spMk id="411" creationId="{80AFB00E-D6C4-45B6-26FB-FEE80C6A593D}"/>
          </ac:spMkLst>
        </pc:spChg>
        <pc:spChg chg="add del mod modVis">
          <ac:chgData name="Oğuz Öztekin" userId="33c0df0f-d5fe-4bda-8f43-141ad7af67e3" providerId="ADAL" clId="{18BFCD08-9838-4C62-912A-E59CEE905FD1}" dt="2024-12-17T08:28:04.638" v="8636"/>
          <ac:spMkLst>
            <pc:docMk/>
            <pc:sldMk cId="865606007" sldId="279"/>
            <ac:spMk id="413" creationId="{8A855BCB-E0DB-66C5-3661-E4C06C733CED}"/>
          </ac:spMkLst>
        </pc:spChg>
        <pc:spChg chg="add del mod modVis">
          <ac:chgData name="Oğuz Öztekin" userId="33c0df0f-d5fe-4bda-8f43-141ad7af67e3" providerId="ADAL" clId="{18BFCD08-9838-4C62-912A-E59CEE905FD1}" dt="2024-12-17T08:28:05.709" v="8768"/>
          <ac:spMkLst>
            <pc:docMk/>
            <pc:sldMk cId="865606007" sldId="279"/>
            <ac:spMk id="415" creationId="{4B9BC8CA-A94E-6502-6617-30D2ED630122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416" creationId="{76D545D6-4667-4615-270E-923E3473C475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419" creationId="{27767EDA-219E-A0EE-101F-3879B19B4759}"/>
          </ac:spMkLst>
        </pc:spChg>
        <pc:spChg chg="add mod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420" creationId="{45CE54A1-9A1D-087A-D198-5225AB75EAE3}"/>
          </ac:spMkLst>
        </pc:spChg>
        <pc:spChg chg="add del mod modVis">
          <ac:chgData name="Oğuz Öztekin" userId="33c0df0f-d5fe-4bda-8f43-141ad7af67e3" providerId="ADAL" clId="{18BFCD08-9838-4C62-912A-E59CEE905FD1}" dt="2024-12-17T08:29:40.252" v="11885"/>
          <ac:spMkLst>
            <pc:docMk/>
            <pc:sldMk cId="865606007" sldId="279"/>
            <ac:spMk id="421" creationId="{800362BB-8076-A846-DF58-88D60E5C1342}"/>
          </ac:spMkLst>
        </pc:spChg>
        <pc:spChg chg="add del mod modVis">
          <ac:chgData name="Oğuz Öztekin" userId="33c0df0f-d5fe-4bda-8f43-141ad7af67e3" providerId="ADAL" clId="{18BFCD08-9838-4C62-912A-E59CEE905FD1}" dt="2024-12-17T08:29:45.407" v="12133"/>
          <ac:spMkLst>
            <pc:docMk/>
            <pc:sldMk cId="865606007" sldId="279"/>
            <ac:spMk id="423" creationId="{6BD38999-59F9-762B-7543-4568E3B0F3B9}"/>
          </ac:spMkLst>
        </pc:spChg>
        <pc:spChg chg="add del mod modVis">
          <ac:chgData name="Oğuz Öztekin" userId="33c0df0f-d5fe-4bda-8f43-141ad7af67e3" providerId="ADAL" clId="{18BFCD08-9838-4C62-912A-E59CEE905FD1}" dt="2024-12-17T08:30:05.342" v="13148"/>
          <ac:spMkLst>
            <pc:docMk/>
            <pc:sldMk cId="865606007" sldId="279"/>
            <ac:spMk id="425" creationId="{A7337C0D-A4B3-32A0-F573-278ECAFAC02D}"/>
          </ac:spMkLst>
        </pc:spChg>
        <pc:spChg chg="add mod">
          <ac:chgData name="Oğuz Öztekin" userId="33c0df0f-d5fe-4bda-8f43-141ad7af67e3" providerId="ADAL" clId="{18BFCD08-9838-4C62-912A-E59CEE905FD1}" dt="2024-12-17T08:30:05.342" v="13148"/>
          <ac:spMkLst>
            <pc:docMk/>
            <pc:sldMk cId="865606007" sldId="279"/>
            <ac:spMk id="426" creationId="{A533228C-FB63-F5E1-36F7-2155AA00F20B}"/>
          </ac:spMkLst>
        </pc:spChg>
        <pc:spChg chg="add mod">
          <ac:chgData name="Oğuz Öztekin" userId="33c0df0f-d5fe-4bda-8f43-141ad7af67e3" providerId="ADAL" clId="{18BFCD08-9838-4C62-912A-E59CEE905FD1}" dt="2024-12-17T08:30:05.342" v="13148"/>
          <ac:spMkLst>
            <pc:docMk/>
            <pc:sldMk cId="865606007" sldId="279"/>
            <ac:spMk id="427" creationId="{57CB59E1-899D-92B5-F55B-9E6BA685A6F1}"/>
          </ac:spMkLst>
        </pc:spChg>
        <pc:spChg chg="add mod">
          <ac:chgData name="Oğuz Öztekin" userId="33c0df0f-d5fe-4bda-8f43-141ad7af67e3" providerId="ADAL" clId="{18BFCD08-9838-4C62-912A-E59CEE905FD1}" dt="2024-12-17T08:30:05.342" v="13148"/>
          <ac:spMkLst>
            <pc:docMk/>
            <pc:sldMk cId="865606007" sldId="279"/>
            <ac:spMk id="428" creationId="{14A647E7-BD64-7712-F685-2716C5C74F0B}"/>
          </ac:spMkLst>
        </pc:spChg>
        <pc:spChg chg="add mod">
          <ac:chgData name="Oğuz Öztekin" userId="33c0df0f-d5fe-4bda-8f43-141ad7af67e3" providerId="ADAL" clId="{18BFCD08-9838-4C62-912A-E59CEE905FD1}" dt="2024-12-17T08:30:05.342" v="13148"/>
          <ac:spMkLst>
            <pc:docMk/>
            <pc:sldMk cId="865606007" sldId="279"/>
            <ac:spMk id="429" creationId="{26E5FE30-3A29-2340-C1D5-EFC7C7A3800A}"/>
          </ac:spMkLst>
        </pc:spChg>
        <pc:spChg chg="add mod">
          <ac:chgData name="Oğuz Öztekin" userId="33c0df0f-d5fe-4bda-8f43-141ad7af67e3" providerId="ADAL" clId="{18BFCD08-9838-4C62-912A-E59CEE905FD1}" dt="2024-12-17T08:30:05.342" v="13148"/>
          <ac:spMkLst>
            <pc:docMk/>
            <pc:sldMk cId="865606007" sldId="279"/>
            <ac:spMk id="430" creationId="{09BC6070-51CB-DA80-E4DB-951AB52CAFD4}"/>
          </ac:spMkLst>
        </pc:spChg>
        <pc:spChg chg="add mod">
          <ac:chgData name="Oğuz Öztekin" userId="33c0df0f-d5fe-4bda-8f43-141ad7af67e3" providerId="ADAL" clId="{18BFCD08-9838-4C62-912A-E59CEE905FD1}" dt="2024-12-17T08:30:05.342" v="13148"/>
          <ac:spMkLst>
            <pc:docMk/>
            <pc:sldMk cId="865606007" sldId="279"/>
            <ac:spMk id="431" creationId="{6FEEDAB5-457E-AA94-CE3D-18E586DE0ABA}"/>
          </ac:spMkLst>
        </pc:spChg>
        <pc:spChg chg="add mod">
          <ac:chgData name="Oğuz Öztekin" userId="33c0df0f-d5fe-4bda-8f43-141ad7af67e3" providerId="ADAL" clId="{18BFCD08-9838-4C62-912A-E59CEE905FD1}" dt="2024-12-17T08:30:05.342" v="13148"/>
          <ac:spMkLst>
            <pc:docMk/>
            <pc:sldMk cId="865606007" sldId="279"/>
            <ac:spMk id="432" creationId="{07DD81E5-1F3C-6F6E-5CC2-255E48B96BE9}"/>
          </ac:spMkLst>
        </pc:spChg>
        <pc:spChg chg="add mod">
          <ac:chgData name="Oğuz Öztekin" userId="33c0df0f-d5fe-4bda-8f43-141ad7af67e3" providerId="ADAL" clId="{18BFCD08-9838-4C62-912A-E59CEE905FD1}" dt="2024-12-17T08:30:05.342" v="13148"/>
          <ac:spMkLst>
            <pc:docMk/>
            <pc:sldMk cId="865606007" sldId="279"/>
            <ac:spMk id="433" creationId="{2D3AB8FF-B60B-08A1-7D3E-63E4F53EEF57}"/>
          </ac:spMkLst>
        </pc:spChg>
        <pc:spChg chg="add mod">
          <ac:chgData name="Oğuz Öztekin" userId="33c0df0f-d5fe-4bda-8f43-141ad7af67e3" providerId="ADAL" clId="{18BFCD08-9838-4C62-912A-E59CEE905FD1}" dt="2024-12-17T08:30:05.342" v="13148"/>
          <ac:spMkLst>
            <pc:docMk/>
            <pc:sldMk cId="865606007" sldId="279"/>
            <ac:spMk id="434" creationId="{A8D2F488-B325-8860-1239-70931B81FF27}"/>
          </ac:spMkLst>
        </pc:spChg>
        <pc:spChg chg="add mod">
          <ac:chgData name="Oğuz Öztekin" userId="33c0df0f-d5fe-4bda-8f43-141ad7af67e3" providerId="ADAL" clId="{18BFCD08-9838-4C62-912A-E59CEE905FD1}" dt="2024-12-17T08:30:05.342" v="13148"/>
          <ac:spMkLst>
            <pc:docMk/>
            <pc:sldMk cId="865606007" sldId="279"/>
            <ac:spMk id="435" creationId="{FBBA90D1-02FE-1A95-A628-2B6FA4F14964}"/>
          </ac:spMkLst>
        </pc:spChg>
        <pc:spChg chg="add mod">
          <ac:chgData name="Oğuz Öztekin" userId="33c0df0f-d5fe-4bda-8f43-141ad7af67e3" providerId="ADAL" clId="{18BFCD08-9838-4C62-912A-E59CEE905FD1}" dt="2024-12-17T08:30:05.342" v="13148"/>
          <ac:spMkLst>
            <pc:docMk/>
            <pc:sldMk cId="865606007" sldId="279"/>
            <ac:spMk id="436" creationId="{C6BFC3D8-471F-79AF-4239-CE73F440776C}"/>
          </ac:spMkLst>
        </pc:spChg>
        <pc:spChg chg="add del mod modVis">
          <ac:chgData name="Oğuz Öztekin" userId="33c0df0f-d5fe-4bda-8f43-141ad7af67e3" providerId="ADAL" clId="{18BFCD08-9838-4C62-912A-E59CEE905FD1}" dt="2024-12-17T08:30:13.546" v="13544"/>
          <ac:spMkLst>
            <pc:docMk/>
            <pc:sldMk cId="865606007" sldId="279"/>
            <ac:spMk id="438" creationId="{05075131-700B-A349-1D7C-15A2336545EB}"/>
          </ac:spMkLst>
        </pc:spChg>
        <pc:spChg chg="add del mod modVis">
          <ac:chgData name="Oğuz Öztekin" userId="33c0df0f-d5fe-4bda-8f43-141ad7af67e3" providerId="ADAL" clId="{18BFCD08-9838-4C62-912A-E59CEE905FD1}" dt="2024-12-17T08:30:25.414" v="13936"/>
          <ac:spMkLst>
            <pc:docMk/>
            <pc:sldMk cId="865606007" sldId="279"/>
            <ac:spMk id="440" creationId="{FBF5411F-E257-D60D-4D8C-2352801918A1}"/>
          </ac:spMkLst>
        </pc:spChg>
        <pc:spChg chg="add del mod modVis">
          <ac:chgData name="Oğuz Öztekin" userId="33c0df0f-d5fe-4bda-8f43-141ad7af67e3" providerId="ADAL" clId="{18BFCD08-9838-4C62-912A-E59CEE905FD1}" dt="2024-12-17T08:30:31.771" v="14376"/>
          <ac:spMkLst>
            <pc:docMk/>
            <pc:sldMk cId="865606007" sldId="279"/>
            <ac:spMk id="442" creationId="{892AC13C-87B4-501A-F560-8ABC918114C6}"/>
          </ac:spMkLst>
        </pc:spChg>
        <pc:spChg chg="add del mod modVis">
          <ac:chgData name="Oğuz Öztekin" userId="33c0df0f-d5fe-4bda-8f43-141ad7af67e3" providerId="ADAL" clId="{18BFCD08-9838-4C62-912A-E59CEE905FD1}" dt="2024-12-17T08:30:35.288" v="15801"/>
          <ac:spMkLst>
            <pc:docMk/>
            <pc:sldMk cId="865606007" sldId="279"/>
            <ac:spMk id="444" creationId="{AA487D6A-3014-513A-4BC2-389C9D2844B8}"/>
          </ac:spMkLst>
        </pc:spChg>
        <pc:spChg chg="add del mod">
          <ac:chgData name="Oğuz Öztekin" userId="33c0df0f-d5fe-4bda-8f43-141ad7af67e3" providerId="ADAL" clId="{18BFCD08-9838-4C62-912A-E59CEE905FD1}" dt="2024-12-17T08:34:44.390" v="26829"/>
          <ac:spMkLst>
            <pc:docMk/>
            <pc:sldMk cId="865606007" sldId="279"/>
            <ac:spMk id="445" creationId="{1CD210E2-057C-191E-D69A-694C72D224AB}"/>
          </ac:spMkLst>
        </pc:spChg>
        <pc:spChg chg="add del mod">
          <ac:chgData name="Oğuz Öztekin" userId="33c0df0f-d5fe-4bda-8f43-141ad7af67e3" providerId="ADAL" clId="{18BFCD08-9838-4C62-912A-E59CEE905FD1}" dt="2024-12-17T08:34:44.393" v="26832"/>
          <ac:spMkLst>
            <pc:docMk/>
            <pc:sldMk cId="865606007" sldId="279"/>
            <ac:spMk id="446" creationId="{66F307C5-F090-BB53-6180-29A3B4809B16}"/>
          </ac:spMkLst>
        </pc:spChg>
        <pc:spChg chg="add del mod">
          <ac:chgData name="Oğuz Öztekin" userId="33c0df0f-d5fe-4bda-8f43-141ad7af67e3" providerId="ADAL" clId="{18BFCD08-9838-4C62-912A-E59CEE905FD1}" dt="2024-12-17T08:34:44.396" v="26835"/>
          <ac:spMkLst>
            <pc:docMk/>
            <pc:sldMk cId="865606007" sldId="279"/>
            <ac:spMk id="447" creationId="{1FF1CF30-CE1B-D918-4E3D-553BF4B40849}"/>
          </ac:spMkLst>
        </pc:spChg>
        <pc:spChg chg="add del mod">
          <ac:chgData name="Oğuz Öztekin" userId="33c0df0f-d5fe-4bda-8f43-141ad7af67e3" providerId="ADAL" clId="{18BFCD08-9838-4C62-912A-E59CEE905FD1}" dt="2024-12-17T08:34:44.399" v="26838"/>
          <ac:spMkLst>
            <pc:docMk/>
            <pc:sldMk cId="865606007" sldId="279"/>
            <ac:spMk id="448" creationId="{A2E59E15-BB82-7B2B-1A49-C11A96CA4EF8}"/>
          </ac:spMkLst>
        </pc:spChg>
        <pc:spChg chg="add del mod">
          <ac:chgData name="Oğuz Öztekin" userId="33c0df0f-d5fe-4bda-8f43-141ad7af67e3" providerId="ADAL" clId="{18BFCD08-9838-4C62-912A-E59CEE905FD1}" dt="2024-12-17T08:34:44.402" v="26841"/>
          <ac:spMkLst>
            <pc:docMk/>
            <pc:sldMk cId="865606007" sldId="279"/>
            <ac:spMk id="449" creationId="{7D57F96E-E032-CAAF-0C33-740B5D813F75}"/>
          </ac:spMkLst>
        </pc:spChg>
        <pc:spChg chg="add del mod">
          <ac:chgData name="Oğuz Öztekin" userId="33c0df0f-d5fe-4bda-8f43-141ad7af67e3" providerId="ADAL" clId="{18BFCD08-9838-4C62-912A-E59CEE905FD1}" dt="2024-12-17T08:34:44.405" v="26844"/>
          <ac:spMkLst>
            <pc:docMk/>
            <pc:sldMk cId="865606007" sldId="279"/>
            <ac:spMk id="450" creationId="{1576A258-2D5F-562B-A990-FDB84700E5B0}"/>
          </ac:spMkLst>
        </pc:spChg>
        <pc:spChg chg="add del mod">
          <ac:chgData name="Oğuz Öztekin" userId="33c0df0f-d5fe-4bda-8f43-141ad7af67e3" providerId="ADAL" clId="{18BFCD08-9838-4C62-912A-E59CEE905FD1}" dt="2024-12-17T08:34:44.408" v="26847"/>
          <ac:spMkLst>
            <pc:docMk/>
            <pc:sldMk cId="865606007" sldId="279"/>
            <ac:spMk id="451" creationId="{FDAA84A8-0DF9-AA86-58EF-7B72404EC16C}"/>
          </ac:spMkLst>
        </pc:spChg>
        <pc:spChg chg="add del mod">
          <ac:chgData name="Oğuz Öztekin" userId="33c0df0f-d5fe-4bda-8f43-141ad7af67e3" providerId="ADAL" clId="{18BFCD08-9838-4C62-912A-E59CEE905FD1}" dt="2024-12-17T08:34:44.411" v="26850"/>
          <ac:spMkLst>
            <pc:docMk/>
            <pc:sldMk cId="865606007" sldId="279"/>
            <ac:spMk id="452" creationId="{9AAA1E00-DA94-48DE-1DAC-D4052F1051F1}"/>
          </ac:spMkLst>
        </pc:spChg>
        <pc:spChg chg="add del mod">
          <ac:chgData name="Oğuz Öztekin" userId="33c0df0f-d5fe-4bda-8f43-141ad7af67e3" providerId="ADAL" clId="{18BFCD08-9838-4C62-912A-E59CEE905FD1}" dt="2024-12-17T08:34:44.413" v="26852"/>
          <ac:spMkLst>
            <pc:docMk/>
            <pc:sldMk cId="865606007" sldId="279"/>
            <ac:spMk id="453" creationId="{78A43A51-DDA6-474B-97E9-A0C82B7C1BAB}"/>
          </ac:spMkLst>
        </pc:spChg>
        <pc:spChg chg="add del mod">
          <ac:chgData name="Oğuz Öztekin" userId="33c0df0f-d5fe-4bda-8f43-141ad7af67e3" providerId="ADAL" clId="{18BFCD08-9838-4C62-912A-E59CEE905FD1}" dt="2024-12-17T08:34:44.416" v="26855"/>
          <ac:spMkLst>
            <pc:docMk/>
            <pc:sldMk cId="865606007" sldId="279"/>
            <ac:spMk id="454" creationId="{6E6EDD8A-D91C-BAF0-B6A0-8B941A068DA8}"/>
          </ac:spMkLst>
        </pc:spChg>
        <pc:spChg chg="add del mod">
          <ac:chgData name="Oğuz Öztekin" userId="33c0df0f-d5fe-4bda-8f43-141ad7af67e3" providerId="ADAL" clId="{18BFCD08-9838-4C62-912A-E59CEE905FD1}" dt="2024-12-17T08:34:44.421" v="26861"/>
          <ac:spMkLst>
            <pc:docMk/>
            <pc:sldMk cId="865606007" sldId="279"/>
            <ac:spMk id="455" creationId="{836F7DF7-27CA-8655-5736-A0B09D00C389}"/>
          </ac:spMkLst>
        </pc:spChg>
        <pc:spChg chg="add del mod">
          <ac:chgData name="Oğuz Öztekin" userId="33c0df0f-d5fe-4bda-8f43-141ad7af67e3" providerId="ADAL" clId="{18BFCD08-9838-4C62-912A-E59CEE905FD1}" dt="2024-12-17T08:34:44.418" v="26857"/>
          <ac:spMkLst>
            <pc:docMk/>
            <pc:sldMk cId="865606007" sldId="279"/>
            <ac:spMk id="456" creationId="{BD62EC5D-FCB4-762E-0392-52D963797ECE}"/>
          </ac:spMkLst>
        </pc:spChg>
        <pc:spChg chg="add del mod">
          <ac:chgData name="Oğuz Öztekin" userId="33c0df0f-d5fe-4bda-8f43-141ad7af67e3" providerId="ADAL" clId="{18BFCD08-9838-4C62-912A-E59CEE905FD1}" dt="2024-12-17T08:34:44.419" v="26858"/>
          <ac:spMkLst>
            <pc:docMk/>
            <pc:sldMk cId="865606007" sldId="279"/>
            <ac:spMk id="457" creationId="{682ADEC0-4C3F-6EEE-009C-33B88518B68D}"/>
          </ac:spMkLst>
        </pc:spChg>
        <pc:spChg chg="add del mod">
          <ac:chgData name="Oğuz Öztekin" userId="33c0df0f-d5fe-4bda-8f43-141ad7af67e3" providerId="ADAL" clId="{18BFCD08-9838-4C62-912A-E59CEE905FD1}" dt="2024-12-17T08:34:44.420" v="26859"/>
          <ac:spMkLst>
            <pc:docMk/>
            <pc:sldMk cId="865606007" sldId="279"/>
            <ac:spMk id="458" creationId="{2DE8CE0D-8F96-7C76-820F-34C132CF3D90}"/>
          </ac:spMkLst>
        </pc:spChg>
        <pc:spChg chg="add del mod">
          <ac:chgData name="Oğuz Öztekin" userId="33c0df0f-d5fe-4bda-8f43-141ad7af67e3" providerId="ADAL" clId="{18BFCD08-9838-4C62-912A-E59CEE905FD1}" dt="2024-12-17T08:34:44.420" v="26860"/>
          <ac:spMkLst>
            <pc:docMk/>
            <pc:sldMk cId="865606007" sldId="279"/>
            <ac:spMk id="459" creationId="{DF6E9087-E653-F11A-A6F3-2C3CFA87AC5F}"/>
          </ac:spMkLst>
        </pc:spChg>
        <pc:spChg chg="add del mod">
          <ac:chgData name="Oğuz Öztekin" userId="33c0df0f-d5fe-4bda-8f43-141ad7af67e3" providerId="ADAL" clId="{18BFCD08-9838-4C62-912A-E59CEE905FD1}" dt="2024-12-17T08:34:44.425" v="26866"/>
          <ac:spMkLst>
            <pc:docMk/>
            <pc:sldMk cId="865606007" sldId="279"/>
            <ac:spMk id="460" creationId="{F31D48F9-9B26-A59D-3B58-8D5A5AEC61BE}"/>
          </ac:spMkLst>
        </pc:spChg>
        <pc:spChg chg="add del mod">
          <ac:chgData name="Oğuz Öztekin" userId="33c0df0f-d5fe-4bda-8f43-141ad7af67e3" providerId="ADAL" clId="{18BFCD08-9838-4C62-912A-E59CEE905FD1}" dt="2024-12-17T08:34:44.422" v="26862"/>
          <ac:spMkLst>
            <pc:docMk/>
            <pc:sldMk cId="865606007" sldId="279"/>
            <ac:spMk id="461" creationId="{79A763B5-B06D-0532-F891-422897897CCF}"/>
          </ac:spMkLst>
        </pc:spChg>
        <pc:spChg chg="add del mod">
          <ac:chgData name="Oğuz Öztekin" userId="33c0df0f-d5fe-4bda-8f43-141ad7af67e3" providerId="ADAL" clId="{18BFCD08-9838-4C62-912A-E59CEE905FD1}" dt="2024-12-17T08:34:44.423" v="26863"/>
          <ac:spMkLst>
            <pc:docMk/>
            <pc:sldMk cId="865606007" sldId="279"/>
            <ac:spMk id="462" creationId="{7046B65E-3558-6256-45C6-AE1BD4EEEA1C}"/>
          </ac:spMkLst>
        </pc:spChg>
        <pc:spChg chg="add del mod">
          <ac:chgData name="Oğuz Öztekin" userId="33c0df0f-d5fe-4bda-8f43-141ad7af67e3" providerId="ADAL" clId="{18BFCD08-9838-4C62-912A-E59CEE905FD1}" dt="2024-12-17T08:34:44.424" v="26864"/>
          <ac:spMkLst>
            <pc:docMk/>
            <pc:sldMk cId="865606007" sldId="279"/>
            <ac:spMk id="463" creationId="{A43D8D8B-02E5-87AB-98E5-E9258C6AE5C5}"/>
          </ac:spMkLst>
        </pc:spChg>
        <pc:spChg chg="add del mod">
          <ac:chgData name="Oğuz Öztekin" userId="33c0df0f-d5fe-4bda-8f43-141ad7af67e3" providerId="ADAL" clId="{18BFCD08-9838-4C62-912A-E59CEE905FD1}" dt="2024-12-17T08:34:44.424" v="26865"/>
          <ac:spMkLst>
            <pc:docMk/>
            <pc:sldMk cId="865606007" sldId="279"/>
            <ac:spMk id="464" creationId="{32287B0B-D9BF-B49B-8983-478697EEB01F}"/>
          </ac:spMkLst>
        </pc:spChg>
        <pc:spChg chg="add del mod">
          <ac:chgData name="Oğuz Öztekin" userId="33c0df0f-d5fe-4bda-8f43-141ad7af67e3" providerId="ADAL" clId="{18BFCD08-9838-4C62-912A-E59CEE905FD1}" dt="2024-12-17T08:34:44.427" v="26869"/>
          <ac:spMkLst>
            <pc:docMk/>
            <pc:sldMk cId="865606007" sldId="279"/>
            <ac:spMk id="466" creationId="{FEA84455-3090-256C-B47F-547C13F2C97C}"/>
          </ac:spMkLst>
        </pc:spChg>
        <pc:spChg chg="add del mod">
          <ac:chgData name="Oğuz Öztekin" userId="33c0df0f-d5fe-4bda-8f43-141ad7af67e3" providerId="ADAL" clId="{18BFCD08-9838-4C62-912A-E59CEE905FD1}" dt="2024-12-17T08:34:44.429" v="26870"/>
          <ac:spMkLst>
            <pc:docMk/>
            <pc:sldMk cId="865606007" sldId="279"/>
            <ac:spMk id="467" creationId="{FD45B90C-BA05-4B75-2203-603BF7C9A3CD}"/>
          </ac:spMkLst>
        </pc:spChg>
        <pc:spChg chg="add del mod modVis">
          <ac:chgData name="Oğuz Öztekin" userId="33c0df0f-d5fe-4bda-8f43-141ad7af67e3" providerId="ADAL" clId="{18BFCD08-9838-4C62-912A-E59CEE905FD1}" dt="2024-12-17T08:30:57.071" v="15956"/>
          <ac:spMkLst>
            <pc:docMk/>
            <pc:sldMk cId="865606007" sldId="279"/>
            <ac:spMk id="468" creationId="{F38D038D-CE99-3878-7836-05E2AD06D73F}"/>
          </ac:spMkLst>
        </pc:spChg>
        <pc:spChg chg="add del mod modVis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70" creationId="{CE6E4C3A-E19F-EB35-F22B-7F39C3649AB8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71" creationId="{684A0E27-8168-7234-C622-827189D4A18A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72" creationId="{68977E39-3BCB-A1F2-02EC-8D6F19DA9CDD}"/>
          </ac:spMkLst>
        </pc:spChg>
        <pc:spChg chg="add mod">
          <ac:chgData name="Oğuz Öztekin" userId="33c0df0f-d5fe-4bda-8f43-141ad7af67e3" providerId="ADAL" clId="{18BFCD08-9838-4C62-912A-E59CEE905FD1}" dt="2024-12-17T08:31:10.482" v="18099" actId="207"/>
          <ac:spMkLst>
            <pc:docMk/>
            <pc:sldMk cId="865606007" sldId="279"/>
            <ac:spMk id="473" creationId="{3E1F7C9F-BE69-70BF-E4AF-EC4FD1622F55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74" creationId="{B4304A68-CD65-7A25-8D43-2E568906B8CF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75" creationId="{BBCC0BD7-39AB-5B6F-4C8D-C6EB1B0EE930}"/>
          </ac:spMkLst>
        </pc:spChg>
        <pc:spChg chg="add mod">
          <ac:chgData name="Oğuz Öztekin" userId="33c0df0f-d5fe-4bda-8f43-141ad7af67e3" providerId="ADAL" clId="{18BFCD08-9838-4C62-912A-E59CEE905FD1}" dt="2024-12-17T08:31:10.480" v="18078" actId="207"/>
          <ac:spMkLst>
            <pc:docMk/>
            <pc:sldMk cId="865606007" sldId="279"/>
            <ac:spMk id="476" creationId="{EDE5BC34-8BF4-4934-852D-332F73F77EA6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77" creationId="{961149E9-8ACD-22F8-BA98-3CFF457ED617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78" creationId="{4AA0BAC1-A581-4B2B-0FC0-D4617E6E3AD4}"/>
          </ac:spMkLst>
        </pc:spChg>
        <pc:spChg chg="add mod">
          <ac:chgData name="Oğuz Öztekin" userId="33c0df0f-d5fe-4bda-8f43-141ad7af67e3" providerId="ADAL" clId="{18BFCD08-9838-4C62-912A-E59CEE905FD1}" dt="2024-12-17T08:31:10.479" v="18057" actId="207"/>
          <ac:spMkLst>
            <pc:docMk/>
            <pc:sldMk cId="865606007" sldId="279"/>
            <ac:spMk id="479" creationId="{605A74DA-549C-FACE-0C9B-FB863463A50C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80" creationId="{58114822-5418-0E2A-308A-90036C8C81A0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81" creationId="{2AF63EC7-9158-42DB-82A3-EF6FAAD289D7}"/>
          </ac:spMkLst>
        </pc:spChg>
        <pc:spChg chg="add mod">
          <ac:chgData name="Oğuz Öztekin" userId="33c0df0f-d5fe-4bda-8f43-141ad7af67e3" providerId="ADAL" clId="{18BFCD08-9838-4C62-912A-E59CEE905FD1}" dt="2024-12-17T08:31:10.477" v="18036" actId="207"/>
          <ac:spMkLst>
            <pc:docMk/>
            <pc:sldMk cId="865606007" sldId="279"/>
            <ac:spMk id="482" creationId="{1A0FF428-26BB-6D56-9FC7-0E4D9F40D7E6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83" creationId="{42361A5C-2D5A-1872-C10C-B5857DC3EFE6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84" creationId="{C78E9DC2-2BEA-2D9E-D1E1-4698EA8B28C9}"/>
          </ac:spMkLst>
        </pc:spChg>
        <pc:spChg chg="add mod">
          <ac:chgData name="Oğuz Öztekin" userId="33c0df0f-d5fe-4bda-8f43-141ad7af67e3" providerId="ADAL" clId="{18BFCD08-9838-4C62-912A-E59CEE905FD1}" dt="2024-12-17T08:31:10.475" v="18015" actId="207"/>
          <ac:spMkLst>
            <pc:docMk/>
            <pc:sldMk cId="865606007" sldId="279"/>
            <ac:spMk id="485" creationId="{B4258A98-A805-1E72-B87C-2790B68B8EC3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86" creationId="{0B65695E-7120-8141-9A1C-37C9AEB06F20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87" creationId="{7BFA819C-B6D7-674E-8A5C-E0B0BEB1C4BA}"/>
          </ac:spMkLst>
        </pc:spChg>
        <pc:spChg chg="add mod">
          <ac:chgData name="Oğuz Öztekin" userId="33c0df0f-d5fe-4bda-8f43-141ad7af67e3" providerId="ADAL" clId="{18BFCD08-9838-4C62-912A-E59CEE905FD1}" dt="2024-12-17T08:31:10.473" v="17994" actId="207"/>
          <ac:spMkLst>
            <pc:docMk/>
            <pc:sldMk cId="865606007" sldId="279"/>
            <ac:spMk id="488" creationId="{F37F9418-65EB-3CB8-49E2-B12C9CB456A4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89" creationId="{C540B48C-F34C-D945-CF99-BAD99411DD2F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90" creationId="{87A2C7B5-6D94-8F60-98E4-BD610D9E0DF4}"/>
          </ac:spMkLst>
        </pc:spChg>
        <pc:spChg chg="add mod">
          <ac:chgData name="Oğuz Öztekin" userId="33c0df0f-d5fe-4bda-8f43-141ad7af67e3" providerId="ADAL" clId="{18BFCD08-9838-4C62-912A-E59CEE905FD1}" dt="2024-12-17T08:31:10.471" v="17973" actId="207"/>
          <ac:spMkLst>
            <pc:docMk/>
            <pc:sldMk cId="865606007" sldId="279"/>
            <ac:spMk id="491" creationId="{8D91AC60-DA50-04D2-6BF0-03275DBB5F60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92" creationId="{00E17945-F480-3735-843D-EADEE03E9946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93" creationId="{C2E5073D-3FE5-C932-9762-5F4B1141A23A}"/>
          </ac:spMkLst>
        </pc:spChg>
        <pc:spChg chg="add mod">
          <ac:chgData name="Oğuz Öztekin" userId="33c0df0f-d5fe-4bda-8f43-141ad7af67e3" providerId="ADAL" clId="{18BFCD08-9838-4C62-912A-E59CEE905FD1}" dt="2024-12-17T08:31:10.470" v="17952" actId="207"/>
          <ac:spMkLst>
            <pc:docMk/>
            <pc:sldMk cId="865606007" sldId="279"/>
            <ac:spMk id="494" creationId="{58C99037-4785-40A6-08CA-8FCE32A7D0C1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95" creationId="{678DF18C-1AEB-8013-106E-0D10C45DF514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96" creationId="{96936264-8D9D-84D6-952F-7A705B015E3D}"/>
          </ac:spMkLst>
        </pc:spChg>
        <pc:spChg chg="add mod">
          <ac:chgData name="Oğuz Öztekin" userId="33c0df0f-d5fe-4bda-8f43-141ad7af67e3" providerId="ADAL" clId="{18BFCD08-9838-4C62-912A-E59CEE905FD1}" dt="2024-12-17T08:31:10.468" v="17931" actId="207"/>
          <ac:spMkLst>
            <pc:docMk/>
            <pc:sldMk cId="865606007" sldId="279"/>
            <ac:spMk id="497" creationId="{CBB0C347-75B7-50F9-AD23-D893635917F9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98" creationId="{050E10FE-3D74-F8E4-7DAE-097BEF8E4672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499" creationId="{4D664206-5451-515E-790F-A839EDABB1D6}"/>
          </ac:spMkLst>
        </pc:spChg>
        <pc:spChg chg="add mod">
          <ac:chgData name="Oğuz Öztekin" userId="33c0df0f-d5fe-4bda-8f43-141ad7af67e3" providerId="ADAL" clId="{18BFCD08-9838-4C62-912A-E59CEE905FD1}" dt="2024-12-17T08:31:10.466" v="17910" actId="207"/>
          <ac:spMkLst>
            <pc:docMk/>
            <pc:sldMk cId="865606007" sldId="279"/>
            <ac:spMk id="500" creationId="{C611746A-C341-6529-2F36-FAAAFBE01C2A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501" creationId="{867F9CC0-9331-3B13-7187-2513194FF47F}"/>
          </ac:spMkLst>
        </pc:spChg>
        <pc:spChg chg="add mod or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502" creationId="{2EBF48EB-CE2B-BFEA-E0B2-793C8BFF49F7}"/>
          </ac:spMkLst>
        </pc:spChg>
        <pc:spChg chg="add mod">
          <ac:chgData name="Oğuz Öztekin" userId="33c0df0f-d5fe-4bda-8f43-141ad7af67e3" providerId="ADAL" clId="{18BFCD08-9838-4C62-912A-E59CEE905FD1}" dt="2024-12-17T08:31:10.464" v="17889" actId="207"/>
          <ac:spMkLst>
            <pc:docMk/>
            <pc:sldMk cId="865606007" sldId="279"/>
            <ac:spMk id="503" creationId="{DC6CC62E-8DD4-E835-4978-C9ADBF23732D}"/>
          </ac:spMkLst>
        </pc:spChg>
        <pc:spChg chg="add mo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504" creationId="{7482ECFF-6AE2-0FDD-4051-3710816E0BA0}"/>
          </ac:spMkLst>
        </pc:spChg>
        <pc:spChg chg="add mo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505" creationId="{ADA1B888-7BC6-74DD-1005-517B4BC11FC8}"/>
          </ac:spMkLst>
        </pc:spChg>
        <pc:spChg chg="add mo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506" creationId="{EEA85DB6-318A-4E65-FC2F-B2751D3D0CE6}"/>
          </ac:spMkLst>
        </pc:spChg>
        <pc:spChg chg="add mo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507" creationId="{29C7BC7C-FC73-A7D3-850C-EA91AA8689B0}"/>
          </ac:spMkLst>
        </pc:spChg>
        <pc:spChg chg="add mo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508" creationId="{E9969882-952A-325E-B5E0-3BBFE3ED77FD}"/>
          </ac:spMkLst>
        </pc:spChg>
        <pc:spChg chg="add mo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509" creationId="{D378E347-7B63-6831-3395-19050644DDBA}"/>
          </ac:spMkLst>
        </pc:spChg>
        <pc:spChg chg="add mo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510" creationId="{25997E45-D137-A3BD-83F9-5DB66FA43A08}"/>
          </ac:spMkLst>
        </pc:spChg>
        <pc:spChg chg="add mo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511" creationId="{298D09B7-E76C-5FB4-859C-53D21F539BD6}"/>
          </ac:spMkLst>
        </pc:spChg>
        <pc:spChg chg="add mo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512" creationId="{248E8F2C-4491-829E-98A5-B9662FD522B9}"/>
          </ac:spMkLst>
        </pc:spChg>
        <pc:spChg chg="add mo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513" creationId="{AFE3BA0D-0AE8-0BDD-5669-F850E47E6CE4}"/>
          </ac:spMkLst>
        </pc:spChg>
        <pc:spChg chg="add mo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514" creationId="{530FF3C9-7089-8749-24C9-AB1EE8E751C8}"/>
          </ac:spMkLst>
        </pc:spChg>
        <pc:spChg chg="add mo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515" creationId="{5792D3BB-67F5-68AA-3149-7ACB89BBD64A}"/>
          </ac:spMkLst>
        </pc:spChg>
        <pc:spChg chg="add mod">
          <ac:chgData name="Oğuz Öztekin" userId="33c0df0f-d5fe-4bda-8f43-141ad7af67e3" providerId="ADAL" clId="{18BFCD08-9838-4C62-912A-E59CEE905FD1}" dt="2024-12-17T08:31:10.495" v="18147"/>
          <ac:spMkLst>
            <pc:docMk/>
            <pc:sldMk cId="865606007" sldId="279"/>
            <ac:spMk id="516" creationId="{EDCF7159-AA94-8761-1941-8F59899F7000}"/>
          </ac:spMkLst>
        </pc:spChg>
        <pc:spChg chg="add del mod modVis">
          <ac:chgData name="Oğuz Öztekin" userId="33c0df0f-d5fe-4bda-8f43-141ad7af67e3" providerId="ADAL" clId="{18BFCD08-9838-4C62-912A-E59CEE905FD1}" dt="2024-12-17T08:31:19.075" v="18690"/>
          <ac:spMkLst>
            <pc:docMk/>
            <pc:sldMk cId="865606007" sldId="279"/>
            <ac:spMk id="531" creationId="{C2DB7CD2-FE45-EE0A-126C-11E0110A161E}"/>
          </ac:spMkLst>
        </pc:spChg>
        <pc:spChg chg="add mod">
          <ac:chgData name="Oğuz Öztekin" userId="33c0df0f-d5fe-4bda-8f43-141ad7af67e3" providerId="ADAL" clId="{18BFCD08-9838-4C62-912A-E59CEE905FD1}" dt="2024-12-17T08:31:19.075" v="18690"/>
          <ac:spMkLst>
            <pc:docMk/>
            <pc:sldMk cId="865606007" sldId="279"/>
            <ac:spMk id="532" creationId="{62CF3209-E05F-D6EE-8B99-0ABD3C422FDC}"/>
          </ac:spMkLst>
        </pc:spChg>
        <pc:spChg chg="add del mod modVis">
          <ac:chgData name="Oğuz Öztekin" userId="33c0df0f-d5fe-4bda-8f43-141ad7af67e3" providerId="ADAL" clId="{18BFCD08-9838-4C62-912A-E59CEE905FD1}" dt="2024-12-17T08:31:56.083" v="19642"/>
          <ac:spMkLst>
            <pc:docMk/>
            <pc:sldMk cId="865606007" sldId="279"/>
            <ac:spMk id="535" creationId="{4D50E95E-ABFE-2BD3-F910-1D8B50E52889}"/>
          </ac:spMkLst>
        </pc:spChg>
        <pc:spChg chg="add del mod modVis">
          <ac:chgData name="Oğuz Öztekin" userId="33c0df0f-d5fe-4bda-8f43-141ad7af67e3" providerId="ADAL" clId="{18BFCD08-9838-4C62-912A-E59CEE905FD1}" dt="2024-12-17T08:32:07.601" v="20111"/>
          <ac:spMkLst>
            <pc:docMk/>
            <pc:sldMk cId="865606007" sldId="279"/>
            <ac:spMk id="555" creationId="{6A6F7B5E-5CDE-F139-818A-9984A9AD2B82}"/>
          </ac:spMkLst>
        </pc:spChg>
        <pc:spChg chg="add del mod modVis">
          <ac:chgData name="Oğuz Öztekin" userId="33c0df0f-d5fe-4bda-8f43-141ad7af67e3" providerId="ADAL" clId="{18BFCD08-9838-4C62-912A-E59CEE905FD1}" dt="2024-12-17T08:32:41.770" v="20983"/>
          <ac:spMkLst>
            <pc:docMk/>
            <pc:sldMk cId="865606007" sldId="279"/>
            <ac:spMk id="557" creationId="{9FA746AE-EFB5-6A56-A9E7-91948CFA47DD}"/>
          </ac:spMkLst>
        </pc:spChg>
        <pc:spChg chg="add del mod">
          <ac:chgData name="Oğuz Öztekin" userId="33c0df0f-d5fe-4bda-8f43-141ad7af67e3" providerId="ADAL" clId="{18BFCD08-9838-4C62-912A-E59CEE905FD1}" dt="2024-12-17T08:33:21.717" v="21636"/>
          <ac:spMkLst>
            <pc:docMk/>
            <pc:sldMk cId="865606007" sldId="279"/>
            <ac:spMk id="558" creationId="{F1F9B73A-B0B1-AD63-DCA6-1DA4F1464B1F}"/>
          </ac:spMkLst>
        </pc:spChg>
        <pc:spChg chg="add del mod">
          <ac:chgData name="Oğuz Öztekin" userId="33c0df0f-d5fe-4bda-8f43-141ad7af67e3" providerId="ADAL" clId="{18BFCD08-9838-4C62-912A-E59CEE905FD1}" dt="2024-12-17T08:33:21.602" v="21472"/>
          <ac:spMkLst>
            <pc:docMk/>
            <pc:sldMk cId="865606007" sldId="279"/>
            <ac:spMk id="559" creationId="{AEAAEFFC-11C6-1995-496C-09426DD2516D}"/>
          </ac:spMkLst>
        </pc:spChg>
        <pc:spChg chg="add del mod">
          <ac:chgData name="Oğuz Öztekin" userId="33c0df0f-d5fe-4bda-8f43-141ad7af67e3" providerId="ADAL" clId="{18BFCD08-9838-4C62-912A-E59CEE905FD1}" dt="2024-12-17T08:33:21.602" v="21471"/>
          <ac:spMkLst>
            <pc:docMk/>
            <pc:sldMk cId="865606007" sldId="279"/>
            <ac:spMk id="560" creationId="{B4760642-6538-078A-49B7-C4181F0533C6}"/>
          </ac:spMkLst>
        </pc:spChg>
        <pc:spChg chg="add del mod">
          <ac:chgData name="Oğuz Öztekin" userId="33c0df0f-d5fe-4bda-8f43-141ad7af67e3" providerId="ADAL" clId="{18BFCD08-9838-4C62-912A-E59CEE905FD1}" dt="2024-12-17T08:33:21.602" v="21470"/>
          <ac:spMkLst>
            <pc:docMk/>
            <pc:sldMk cId="865606007" sldId="279"/>
            <ac:spMk id="561" creationId="{63D62FDF-2584-6058-445C-1FE7F95AD399}"/>
          </ac:spMkLst>
        </pc:spChg>
        <pc:spChg chg="add del mod">
          <ac:chgData name="Oğuz Öztekin" userId="33c0df0f-d5fe-4bda-8f43-141ad7af67e3" providerId="ADAL" clId="{18BFCD08-9838-4C62-912A-E59CEE905FD1}" dt="2024-12-17T08:33:21.602" v="21469"/>
          <ac:spMkLst>
            <pc:docMk/>
            <pc:sldMk cId="865606007" sldId="279"/>
            <ac:spMk id="562" creationId="{9139F9A2-A3A5-A28B-100D-03D28F5CF22E}"/>
          </ac:spMkLst>
        </pc:spChg>
        <pc:spChg chg="add del mod">
          <ac:chgData name="Oğuz Öztekin" userId="33c0df0f-d5fe-4bda-8f43-141ad7af67e3" providerId="ADAL" clId="{18BFCD08-9838-4C62-912A-E59CEE905FD1}" dt="2024-12-17T08:33:21.602" v="21468"/>
          <ac:spMkLst>
            <pc:docMk/>
            <pc:sldMk cId="865606007" sldId="279"/>
            <ac:spMk id="563" creationId="{F4BB7613-0E55-C6E3-20C8-2921A8E66BF3}"/>
          </ac:spMkLst>
        </pc:spChg>
        <pc:spChg chg="add del mod">
          <ac:chgData name="Oğuz Öztekin" userId="33c0df0f-d5fe-4bda-8f43-141ad7af67e3" providerId="ADAL" clId="{18BFCD08-9838-4C62-912A-E59CEE905FD1}" dt="2024-12-17T08:33:21.602" v="21467"/>
          <ac:spMkLst>
            <pc:docMk/>
            <pc:sldMk cId="865606007" sldId="279"/>
            <ac:spMk id="564" creationId="{50B77B2D-A782-E356-CDF3-84F38B06A70B}"/>
          </ac:spMkLst>
        </pc:spChg>
        <pc:spChg chg="add del mod">
          <ac:chgData name="Oğuz Öztekin" userId="33c0df0f-d5fe-4bda-8f43-141ad7af67e3" providerId="ADAL" clId="{18BFCD08-9838-4C62-912A-E59CEE905FD1}" dt="2024-12-17T08:33:21.602" v="21466"/>
          <ac:spMkLst>
            <pc:docMk/>
            <pc:sldMk cId="865606007" sldId="279"/>
            <ac:spMk id="565" creationId="{92ED15C9-EC6E-F91C-3CBA-03278005303C}"/>
          </ac:spMkLst>
        </pc:spChg>
        <pc:spChg chg="add del mod">
          <ac:chgData name="Oğuz Öztekin" userId="33c0df0f-d5fe-4bda-8f43-141ad7af67e3" providerId="ADAL" clId="{18BFCD08-9838-4C62-912A-E59CEE905FD1}" dt="2024-12-17T08:33:21.602" v="21465"/>
          <ac:spMkLst>
            <pc:docMk/>
            <pc:sldMk cId="865606007" sldId="279"/>
            <ac:spMk id="566" creationId="{9C422BBA-B565-441B-8D7E-0BE8635C3111}"/>
          </ac:spMkLst>
        </pc:spChg>
        <pc:spChg chg="add del mod">
          <ac:chgData name="Oğuz Öztekin" userId="33c0df0f-d5fe-4bda-8f43-141ad7af67e3" providerId="ADAL" clId="{18BFCD08-9838-4C62-912A-E59CEE905FD1}" dt="2024-12-17T08:33:21.586" v="21464"/>
          <ac:spMkLst>
            <pc:docMk/>
            <pc:sldMk cId="865606007" sldId="279"/>
            <ac:spMk id="567" creationId="{EE1DEDED-D4F0-CDBE-D7B6-15979679A3E4}"/>
          </ac:spMkLst>
        </pc:spChg>
        <pc:spChg chg="add del mod">
          <ac:chgData name="Oğuz Öztekin" userId="33c0df0f-d5fe-4bda-8f43-141ad7af67e3" providerId="ADAL" clId="{18BFCD08-9838-4C62-912A-E59CEE905FD1}" dt="2024-12-17T08:33:21.586" v="21463"/>
          <ac:spMkLst>
            <pc:docMk/>
            <pc:sldMk cId="865606007" sldId="279"/>
            <ac:spMk id="568" creationId="{F12D2080-01AE-938A-969F-202F33779F94}"/>
          </ac:spMkLst>
        </pc:spChg>
        <pc:spChg chg="add del mod">
          <ac:chgData name="Oğuz Öztekin" userId="33c0df0f-d5fe-4bda-8f43-141ad7af67e3" providerId="ADAL" clId="{18BFCD08-9838-4C62-912A-E59CEE905FD1}" dt="2024-12-17T08:33:21.586" v="21462"/>
          <ac:spMkLst>
            <pc:docMk/>
            <pc:sldMk cId="865606007" sldId="279"/>
            <ac:spMk id="569" creationId="{1B2BD308-2070-D3B3-2F20-C99D5B537F56}"/>
          </ac:spMkLst>
        </pc:spChg>
        <pc:spChg chg="add del mod modVis">
          <ac:chgData name="Oğuz Öztekin" userId="33c0df0f-d5fe-4bda-8f43-141ad7af67e3" providerId="ADAL" clId="{18BFCD08-9838-4C62-912A-E59CEE905FD1}" dt="2024-12-17T08:32:50.345" v="21153"/>
          <ac:spMkLst>
            <pc:docMk/>
            <pc:sldMk cId="865606007" sldId="279"/>
            <ac:spMk id="571" creationId="{FE088337-9B6B-712E-53E7-CBA2D8D19D70}"/>
          </ac:spMkLst>
        </pc:spChg>
        <pc:spChg chg="add del mod modVis">
          <ac:chgData name="Oğuz Öztekin" userId="33c0df0f-d5fe-4bda-8f43-141ad7af67e3" providerId="ADAL" clId="{18BFCD08-9838-4C62-912A-E59CEE905FD1}" dt="2024-12-17T08:33:03.045" v="21406"/>
          <ac:spMkLst>
            <pc:docMk/>
            <pc:sldMk cId="865606007" sldId="279"/>
            <ac:spMk id="573" creationId="{38AE9CAF-B599-892B-A281-59A9384D2488}"/>
          </ac:spMkLst>
        </pc:spChg>
        <pc:spChg chg="add del mod modVis">
          <ac:chgData name="Oğuz Öztekin" userId="33c0df0f-d5fe-4bda-8f43-141ad7af67e3" providerId="ADAL" clId="{18BFCD08-9838-4C62-912A-E59CEE905FD1}" dt="2024-12-17T08:33:21.775" v="21771"/>
          <ac:spMkLst>
            <pc:docMk/>
            <pc:sldMk cId="865606007" sldId="279"/>
            <ac:spMk id="576" creationId="{F5CA92FF-5F65-2C80-76DB-A0E93C775CAE}"/>
          </ac:spMkLst>
        </pc:spChg>
        <pc:spChg chg="add del mod modVis">
          <ac:chgData name="Oğuz Öztekin" userId="33c0df0f-d5fe-4bda-8f43-141ad7af67e3" providerId="ADAL" clId="{18BFCD08-9838-4C62-912A-E59CEE905FD1}" dt="2024-12-17T08:33:37.183" v="22882"/>
          <ac:spMkLst>
            <pc:docMk/>
            <pc:sldMk cId="865606007" sldId="279"/>
            <ac:spMk id="578" creationId="{9FA447C4-7789-4FD0-7D1D-D73D57069B14}"/>
          </ac:spMkLst>
        </pc:spChg>
        <pc:spChg chg="add mod">
          <ac:chgData name="Oğuz Öztekin" userId="33c0df0f-d5fe-4bda-8f43-141ad7af67e3" providerId="ADAL" clId="{18BFCD08-9838-4C62-912A-E59CEE905FD1}" dt="2024-12-17T08:33:37.183" v="22882"/>
          <ac:spMkLst>
            <pc:docMk/>
            <pc:sldMk cId="865606007" sldId="279"/>
            <ac:spMk id="579" creationId="{90E5387B-7A10-B7A3-EDAE-4E9C4C36BFAC}"/>
          </ac:spMkLst>
        </pc:spChg>
        <pc:spChg chg="add mod">
          <ac:chgData name="Oğuz Öztekin" userId="33c0df0f-d5fe-4bda-8f43-141ad7af67e3" providerId="ADAL" clId="{18BFCD08-9838-4C62-912A-E59CEE905FD1}" dt="2024-12-17T08:33:37.183" v="22882"/>
          <ac:spMkLst>
            <pc:docMk/>
            <pc:sldMk cId="865606007" sldId="279"/>
            <ac:spMk id="580" creationId="{D0187A08-73F3-7D3D-1090-0DEE0D9D489F}"/>
          </ac:spMkLst>
        </pc:spChg>
        <pc:spChg chg="add mod">
          <ac:chgData name="Oğuz Öztekin" userId="33c0df0f-d5fe-4bda-8f43-141ad7af67e3" providerId="ADAL" clId="{18BFCD08-9838-4C62-912A-E59CEE905FD1}" dt="2024-12-17T08:33:37.183" v="22882"/>
          <ac:spMkLst>
            <pc:docMk/>
            <pc:sldMk cId="865606007" sldId="279"/>
            <ac:spMk id="581" creationId="{918A37D6-D26A-12FB-C80C-FB66981CFE6D}"/>
          </ac:spMkLst>
        </pc:spChg>
        <pc:spChg chg="add mod">
          <ac:chgData name="Oğuz Öztekin" userId="33c0df0f-d5fe-4bda-8f43-141ad7af67e3" providerId="ADAL" clId="{18BFCD08-9838-4C62-912A-E59CEE905FD1}" dt="2024-12-17T08:33:37.183" v="22882"/>
          <ac:spMkLst>
            <pc:docMk/>
            <pc:sldMk cId="865606007" sldId="279"/>
            <ac:spMk id="582" creationId="{9F236C3D-1860-84D1-9BB8-ECB1D29028C4}"/>
          </ac:spMkLst>
        </pc:spChg>
        <pc:spChg chg="add mod">
          <ac:chgData name="Oğuz Öztekin" userId="33c0df0f-d5fe-4bda-8f43-141ad7af67e3" providerId="ADAL" clId="{18BFCD08-9838-4C62-912A-E59CEE905FD1}" dt="2024-12-17T08:33:37.183" v="22882"/>
          <ac:spMkLst>
            <pc:docMk/>
            <pc:sldMk cId="865606007" sldId="279"/>
            <ac:spMk id="583" creationId="{8E641A35-2394-8384-BEA2-942674FE07DD}"/>
          </ac:spMkLst>
        </pc:spChg>
        <pc:spChg chg="add mod">
          <ac:chgData name="Oğuz Öztekin" userId="33c0df0f-d5fe-4bda-8f43-141ad7af67e3" providerId="ADAL" clId="{18BFCD08-9838-4C62-912A-E59CEE905FD1}" dt="2024-12-17T08:33:37.183" v="22882"/>
          <ac:spMkLst>
            <pc:docMk/>
            <pc:sldMk cId="865606007" sldId="279"/>
            <ac:spMk id="584" creationId="{954374F0-029A-0E73-0352-D1A79BA0D8A0}"/>
          </ac:spMkLst>
        </pc:spChg>
        <pc:spChg chg="add mod">
          <ac:chgData name="Oğuz Öztekin" userId="33c0df0f-d5fe-4bda-8f43-141ad7af67e3" providerId="ADAL" clId="{18BFCD08-9838-4C62-912A-E59CEE905FD1}" dt="2024-12-17T08:33:37.183" v="22882"/>
          <ac:spMkLst>
            <pc:docMk/>
            <pc:sldMk cId="865606007" sldId="279"/>
            <ac:spMk id="585" creationId="{71C49EC0-5064-C2A7-8413-2BA1F03982D5}"/>
          </ac:spMkLst>
        </pc:spChg>
        <pc:spChg chg="add mod">
          <ac:chgData name="Oğuz Öztekin" userId="33c0df0f-d5fe-4bda-8f43-141ad7af67e3" providerId="ADAL" clId="{18BFCD08-9838-4C62-912A-E59CEE905FD1}" dt="2024-12-17T08:33:37.183" v="22882"/>
          <ac:spMkLst>
            <pc:docMk/>
            <pc:sldMk cId="865606007" sldId="279"/>
            <ac:spMk id="586" creationId="{63914ADD-13C2-4688-217F-3B8334D7D833}"/>
          </ac:spMkLst>
        </pc:spChg>
        <pc:spChg chg="add mod">
          <ac:chgData name="Oğuz Öztekin" userId="33c0df0f-d5fe-4bda-8f43-141ad7af67e3" providerId="ADAL" clId="{18BFCD08-9838-4C62-912A-E59CEE905FD1}" dt="2024-12-17T08:33:37.183" v="22882"/>
          <ac:spMkLst>
            <pc:docMk/>
            <pc:sldMk cId="865606007" sldId="279"/>
            <ac:spMk id="587" creationId="{660C14C1-B8B0-CAB2-B487-BDA3878068D7}"/>
          </ac:spMkLst>
        </pc:spChg>
        <pc:spChg chg="add mod">
          <ac:chgData name="Oğuz Öztekin" userId="33c0df0f-d5fe-4bda-8f43-141ad7af67e3" providerId="ADAL" clId="{18BFCD08-9838-4C62-912A-E59CEE905FD1}" dt="2024-12-17T08:33:37.183" v="22882"/>
          <ac:spMkLst>
            <pc:docMk/>
            <pc:sldMk cId="865606007" sldId="279"/>
            <ac:spMk id="588" creationId="{DB37CF86-604E-A159-D542-144113F4013B}"/>
          </ac:spMkLst>
        </pc:spChg>
        <pc:spChg chg="add mod">
          <ac:chgData name="Oğuz Öztekin" userId="33c0df0f-d5fe-4bda-8f43-141ad7af67e3" providerId="ADAL" clId="{18BFCD08-9838-4C62-912A-E59CEE905FD1}" dt="2024-12-17T08:33:37.183" v="22882"/>
          <ac:spMkLst>
            <pc:docMk/>
            <pc:sldMk cId="865606007" sldId="279"/>
            <ac:spMk id="589" creationId="{4262BA57-142A-532A-6088-89F8806172F7}"/>
          </ac:spMkLst>
        </pc:spChg>
        <pc:spChg chg="add mod">
          <ac:chgData name="Oğuz Öztekin" userId="33c0df0f-d5fe-4bda-8f43-141ad7af67e3" providerId="ADAL" clId="{18BFCD08-9838-4C62-912A-E59CEE905FD1}" dt="2024-12-17T08:33:46.595" v="23424"/>
          <ac:spMkLst>
            <pc:docMk/>
            <pc:sldMk cId="865606007" sldId="279"/>
            <ac:spMk id="591" creationId="{9E9B1720-5E35-909C-3CB4-EBC10DDEFBB1}"/>
          </ac:spMkLst>
        </pc:spChg>
        <pc:spChg chg="add mod ord">
          <ac:chgData name="Oğuz Öztekin" userId="33c0df0f-d5fe-4bda-8f43-141ad7af67e3" providerId="ADAL" clId="{18BFCD08-9838-4C62-912A-E59CEE905FD1}" dt="2024-12-17T08:33:46.595" v="23424"/>
          <ac:spMkLst>
            <pc:docMk/>
            <pc:sldMk cId="865606007" sldId="279"/>
            <ac:spMk id="592" creationId="{C1C86098-A043-4955-1DC6-1EE091E55668}"/>
          </ac:spMkLst>
        </pc:spChg>
        <pc:spChg chg="add del mod modVis">
          <ac:chgData name="Oğuz Öztekin" userId="33c0df0f-d5fe-4bda-8f43-141ad7af67e3" providerId="ADAL" clId="{18BFCD08-9838-4C62-912A-E59CEE905FD1}" dt="2024-12-17T08:33:46.595" v="23424"/>
          <ac:spMkLst>
            <pc:docMk/>
            <pc:sldMk cId="865606007" sldId="279"/>
            <ac:spMk id="593" creationId="{52029B49-3419-955B-20BE-C6391414A899}"/>
          </ac:spMkLst>
        </pc:spChg>
        <pc:spChg chg="add mod">
          <ac:chgData name="Oğuz Öztekin" userId="33c0df0f-d5fe-4bda-8f43-141ad7af67e3" providerId="ADAL" clId="{18BFCD08-9838-4C62-912A-E59CEE905FD1}" dt="2024-12-17T08:33:46.530" v="23258" actId="207"/>
          <ac:spMkLst>
            <pc:docMk/>
            <pc:sldMk cId="865606007" sldId="279"/>
            <ac:spMk id="595" creationId="{47838668-685B-37FD-09B6-D632C780F691}"/>
          </ac:spMkLst>
        </pc:spChg>
        <pc:spChg chg="add del mod modVis">
          <ac:chgData name="Oğuz Öztekin" userId="33c0df0f-d5fe-4bda-8f43-141ad7af67e3" providerId="ADAL" clId="{18BFCD08-9838-4C62-912A-E59CEE905FD1}" dt="2024-12-17T08:34:01.754" v="24195"/>
          <ac:spMkLst>
            <pc:docMk/>
            <pc:sldMk cId="865606007" sldId="279"/>
            <ac:spMk id="596" creationId="{19DC6A2F-D923-4DB9-412D-0D7C41EF650B}"/>
          </ac:spMkLst>
        </pc:spChg>
        <pc:spChg chg="add del mod">
          <ac:chgData name="Oğuz Öztekin" userId="33c0df0f-d5fe-4bda-8f43-141ad7af67e3" providerId="ADAL" clId="{18BFCD08-9838-4C62-912A-E59CEE905FD1}" dt="2024-12-17T08:34:15.310" v="25648"/>
          <ac:spMkLst>
            <pc:docMk/>
            <pc:sldMk cId="865606007" sldId="279"/>
            <ac:spMk id="597" creationId="{D8D46D6F-5D34-9549-757D-6FE8A587A80B}"/>
          </ac:spMkLst>
        </pc:spChg>
        <pc:spChg chg="add del mod">
          <ac:chgData name="Oğuz Öztekin" userId="33c0df0f-d5fe-4bda-8f43-141ad7af67e3" providerId="ADAL" clId="{18BFCD08-9838-4C62-912A-E59CEE905FD1}" dt="2024-12-17T08:34:15.310" v="25649"/>
          <ac:spMkLst>
            <pc:docMk/>
            <pc:sldMk cId="865606007" sldId="279"/>
            <ac:spMk id="598" creationId="{DAFE2427-CDEE-2A25-7686-168C6B184D98}"/>
          </ac:spMkLst>
        </pc:spChg>
        <pc:spChg chg="add del mod">
          <ac:chgData name="Oğuz Öztekin" userId="33c0df0f-d5fe-4bda-8f43-141ad7af67e3" providerId="ADAL" clId="{18BFCD08-9838-4C62-912A-E59CEE905FD1}" dt="2024-12-17T08:34:15.311" v="25650"/>
          <ac:spMkLst>
            <pc:docMk/>
            <pc:sldMk cId="865606007" sldId="279"/>
            <ac:spMk id="599" creationId="{5C395FC9-E8DD-8AC5-EDDA-E654139773B2}"/>
          </ac:spMkLst>
        </pc:spChg>
        <pc:spChg chg="add del mod">
          <ac:chgData name="Oğuz Öztekin" userId="33c0df0f-d5fe-4bda-8f43-141ad7af67e3" providerId="ADAL" clId="{18BFCD08-9838-4C62-912A-E59CEE905FD1}" dt="2024-12-17T08:34:15.311" v="25651"/>
          <ac:spMkLst>
            <pc:docMk/>
            <pc:sldMk cId="865606007" sldId="279"/>
            <ac:spMk id="600" creationId="{1659C6CB-8D46-ADEF-7F4A-7778AEAEDC84}"/>
          </ac:spMkLst>
        </pc:spChg>
        <pc:spChg chg="add del mod">
          <ac:chgData name="Oğuz Öztekin" userId="33c0df0f-d5fe-4bda-8f43-141ad7af67e3" providerId="ADAL" clId="{18BFCD08-9838-4C62-912A-E59CEE905FD1}" dt="2024-12-17T08:34:15.311" v="25652"/>
          <ac:spMkLst>
            <pc:docMk/>
            <pc:sldMk cId="865606007" sldId="279"/>
            <ac:spMk id="601" creationId="{C9D93BE8-A9DD-39A2-3C21-BEB76017605E}"/>
          </ac:spMkLst>
        </pc:spChg>
        <pc:spChg chg="add del mod">
          <ac:chgData name="Oğuz Öztekin" userId="33c0df0f-d5fe-4bda-8f43-141ad7af67e3" providerId="ADAL" clId="{18BFCD08-9838-4C62-912A-E59CEE905FD1}" dt="2024-12-17T08:34:15.312" v="25653"/>
          <ac:spMkLst>
            <pc:docMk/>
            <pc:sldMk cId="865606007" sldId="279"/>
            <ac:spMk id="602" creationId="{0E3DF332-1215-6722-FB6E-1732F02BF321}"/>
          </ac:spMkLst>
        </pc:spChg>
        <pc:spChg chg="add del mod">
          <ac:chgData name="Oğuz Öztekin" userId="33c0df0f-d5fe-4bda-8f43-141ad7af67e3" providerId="ADAL" clId="{18BFCD08-9838-4C62-912A-E59CEE905FD1}" dt="2024-12-17T08:34:15.312" v="25654"/>
          <ac:spMkLst>
            <pc:docMk/>
            <pc:sldMk cId="865606007" sldId="279"/>
            <ac:spMk id="603" creationId="{BBB902DF-3379-D1C1-5B71-4565088B90D3}"/>
          </ac:spMkLst>
        </pc:spChg>
        <pc:spChg chg="add del mod">
          <ac:chgData name="Oğuz Öztekin" userId="33c0df0f-d5fe-4bda-8f43-141ad7af67e3" providerId="ADAL" clId="{18BFCD08-9838-4C62-912A-E59CEE905FD1}" dt="2024-12-17T08:34:15.312" v="25655"/>
          <ac:spMkLst>
            <pc:docMk/>
            <pc:sldMk cId="865606007" sldId="279"/>
            <ac:spMk id="604" creationId="{0629C48D-5F38-CAFB-2E1C-DBAFCB125EC1}"/>
          </ac:spMkLst>
        </pc:spChg>
        <pc:spChg chg="add del mod">
          <ac:chgData name="Oğuz Öztekin" userId="33c0df0f-d5fe-4bda-8f43-141ad7af67e3" providerId="ADAL" clId="{18BFCD08-9838-4C62-912A-E59CEE905FD1}" dt="2024-12-17T08:34:15.313" v="25656"/>
          <ac:spMkLst>
            <pc:docMk/>
            <pc:sldMk cId="865606007" sldId="279"/>
            <ac:spMk id="605" creationId="{C655483C-5861-F8E1-0A5C-ED09C0186142}"/>
          </ac:spMkLst>
        </pc:spChg>
        <pc:spChg chg="add del mod">
          <ac:chgData name="Oğuz Öztekin" userId="33c0df0f-d5fe-4bda-8f43-141ad7af67e3" providerId="ADAL" clId="{18BFCD08-9838-4C62-912A-E59CEE905FD1}" dt="2024-12-17T08:34:15.313" v="25657"/>
          <ac:spMkLst>
            <pc:docMk/>
            <pc:sldMk cId="865606007" sldId="279"/>
            <ac:spMk id="606" creationId="{AF9B04AD-D29E-11A4-774C-C75CA08966D7}"/>
          </ac:spMkLst>
        </pc:spChg>
        <pc:spChg chg="add del mod">
          <ac:chgData name="Oğuz Öztekin" userId="33c0df0f-d5fe-4bda-8f43-141ad7af67e3" providerId="ADAL" clId="{18BFCD08-9838-4C62-912A-E59CEE905FD1}" dt="2024-12-17T08:34:15.313" v="25658"/>
          <ac:spMkLst>
            <pc:docMk/>
            <pc:sldMk cId="865606007" sldId="279"/>
            <ac:spMk id="607" creationId="{358D81D8-8CE1-5B5B-5BBF-D17AE5131D25}"/>
          </ac:spMkLst>
        </pc:spChg>
        <pc:spChg chg="add del mod modVis">
          <ac:chgData name="Oğuz Öztekin" userId="33c0df0f-d5fe-4bda-8f43-141ad7af67e3" providerId="ADAL" clId="{18BFCD08-9838-4C62-912A-E59CEE905FD1}" dt="2024-12-17T08:34:05.361" v="24529"/>
          <ac:spMkLst>
            <pc:docMk/>
            <pc:sldMk cId="865606007" sldId="279"/>
            <ac:spMk id="609" creationId="{2F0D0DE1-821B-E2E9-C303-93EEA0BCB2D7}"/>
          </ac:spMkLst>
        </pc:spChg>
        <pc:spChg chg="add del mod modVis">
          <ac:chgData name="Oğuz Öztekin" userId="33c0df0f-d5fe-4bda-8f43-141ad7af67e3" providerId="ADAL" clId="{18BFCD08-9838-4C62-912A-E59CEE905FD1}" dt="2024-12-17T08:34:07.163" v="24705"/>
          <ac:spMkLst>
            <pc:docMk/>
            <pc:sldMk cId="865606007" sldId="279"/>
            <ac:spMk id="611" creationId="{5AD152F5-19E1-9302-DC12-A308384C9FD1}"/>
          </ac:spMkLst>
        </pc:spChg>
        <pc:spChg chg="add del mod modVis">
          <ac:chgData name="Oğuz Öztekin" userId="33c0df0f-d5fe-4bda-8f43-141ad7af67e3" providerId="ADAL" clId="{18BFCD08-9838-4C62-912A-E59CEE905FD1}" dt="2024-12-17T08:34:07.893" v="24881"/>
          <ac:spMkLst>
            <pc:docMk/>
            <pc:sldMk cId="865606007" sldId="279"/>
            <ac:spMk id="613" creationId="{EEC727EB-5CDB-1BB3-6F24-77DF8C95798B}"/>
          </ac:spMkLst>
        </pc:spChg>
        <pc:spChg chg="add del mod modVis">
          <ac:chgData name="Oğuz Öztekin" userId="33c0df0f-d5fe-4bda-8f43-141ad7af67e3" providerId="ADAL" clId="{18BFCD08-9838-4C62-912A-E59CEE905FD1}" dt="2024-12-17T08:34:11.045" v="25215"/>
          <ac:spMkLst>
            <pc:docMk/>
            <pc:sldMk cId="865606007" sldId="279"/>
            <ac:spMk id="615" creationId="{F21A088D-DF25-5656-A51B-5E97B5DEB5B6}"/>
          </ac:spMkLst>
        </pc:spChg>
        <pc:spChg chg="add del mod modVis">
          <ac:chgData name="Oğuz Öztekin" userId="33c0df0f-d5fe-4bda-8f43-141ad7af67e3" providerId="ADAL" clId="{18BFCD08-9838-4C62-912A-E59CEE905FD1}" dt="2024-12-17T08:34:13.828" v="25549"/>
          <ac:spMkLst>
            <pc:docMk/>
            <pc:sldMk cId="865606007" sldId="279"/>
            <ac:spMk id="617" creationId="{2DEA1C3D-D838-ECF3-C57D-80E7DE56D7C8}"/>
          </ac:spMkLst>
        </pc:spChg>
        <pc:spChg chg="add del mod modVis">
          <ac:chgData name="Oğuz Öztekin" userId="33c0df0f-d5fe-4bda-8f43-141ad7af67e3" providerId="ADAL" clId="{18BFCD08-9838-4C62-912A-E59CEE905FD1}" dt="2024-12-17T08:34:15.346" v="25723"/>
          <ac:spMkLst>
            <pc:docMk/>
            <pc:sldMk cId="865606007" sldId="279"/>
            <ac:spMk id="619" creationId="{0EE3C57B-3868-6FE0-A48A-581B0BCBE4C1}"/>
          </ac:spMkLst>
        </pc:spChg>
        <pc:spChg chg="add del mod modVis">
          <ac:chgData name="Oğuz Öztekin" userId="33c0df0f-d5fe-4bda-8f43-141ad7af67e3" providerId="ADAL" clId="{18BFCD08-9838-4C62-912A-E59CEE905FD1}" dt="2024-12-17T08:34:32.141" v="25905"/>
          <ac:spMkLst>
            <pc:docMk/>
            <pc:sldMk cId="865606007" sldId="279"/>
            <ac:spMk id="621" creationId="{4152C522-41AB-9146-0A70-441E8104279C}"/>
          </ac:spMkLst>
        </pc:spChg>
        <pc:spChg chg="add del mod modVis">
          <ac:chgData name="Oğuz Öztekin" userId="33c0df0f-d5fe-4bda-8f43-141ad7af67e3" providerId="ADAL" clId="{18BFCD08-9838-4C62-912A-E59CEE905FD1}" dt="2024-12-17T08:34:33.663" v="26057"/>
          <ac:spMkLst>
            <pc:docMk/>
            <pc:sldMk cId="865606007" sldId="279"/>
            <ac:spMk id="623" creationId="{4364927C-EE20-39E6-B1B8-6DC485C9E81B}"/>
          </ac:spMkLst>
        </pc:spChg>
        <pc:spChg chg="add del mod modVis">
          <ac:chgData name="Oğuz Öztekin" userId="33c0df0f-d5fe-4bda-8f43-141ad7af67e3" providerId="ADAL" clId="{18BFCD08-9838-4C62-912A-E59CEE905FD1}" dt="2024-12-17T08:34:42.820" v="26706"/>
          <ac:spMkLst>
            <pc:docMk/>
            <pc:sldMk cId="865606007" sldId="279"/>
            <ac:spMk id="625" creationId="{8DF4AB72-3608-4591-86D2-E3984AC47575}"/>
          </ac:spMkLst>
        </pc:spChg>
        <pc:spChg chg="add del mod">
          <ac:chgData name="Oğuz Öztekin" userId="33c0df0f-d5fe-4bda-8f43-141ad7af67e3" providerId="ADAL" clId="{18BFCD08-9838-4C62-912A-E59CEE905FD1}" dt="2024-12-17T08:34:44.357" v="26804"/>
          <ac:spMkLst>
            <pc:docMk/>
            <pc:sldMk cId="865606007" sldId="279"/>
            <ac:spMk id="626" creationId="{C85A3215-4C9B-6427-7923-048C3004290B}"/>
          </ac:spMkLst>
        </pc:spChg>
        <pc:spChg chg="add del mod">
          <ac:chgData name="Oğuz Öztekin" userId="33c0df0f-d5fe-4bda-8f43-141ad7af67e3" providerId="ADAL" clId="{18BFCD08-9838-4C62-912A-E59CEE905FD1}" dt="2024-12-17T08:34:44.358" v="26805"/>
          <ac:spMkLst>
            <pc:docMk/>
            <pc:sldMk cId="865606007" sldId="279"/>
            <ac:spMk id="627" creationId="{2961FB67-D53B-2B7D-B986-54A2928E2591}"/>
          </ac:spMkLst>
        </pc:spChg>
        <pc:spChg chg="add del mod">
          <ac:chgData name="Oğuz Öztekin" userId="33c0df0f-d5fe-4bda-8f43-141ad7af67e3" providerId="ADAL" clId="{18BFCD08-9838-4C62-912A-E59CEE905FD1}" dt="2024-12-17T08:34:44.358" v="26806"/>
          <ac:spMkLst>
            <pc:docMk/>
            <pc:sldMk cId="865606007" sldId="279"/>
            <ac:spMk id="628" creationId="{5A7A8C2B-0B83-B5BB-D204-DABA1A38D64D}"/>
          </ac:spMkLst>
        </pc:spChg>
        <pc:spChg chg="add del mod">
          <ac:chgData name="Oğuz Öztekin" userId="33c0df0f-d5fe-4bda-8f43-141ad7af67e3" providerId="ADAL" clId="{18BFCD08-9838-4C62-912A-E59CEE905FD1}" dt="2024-12-17T08:34:44.359" v="26807"/>
          <ac:spMkLst>
            <pc:docMk/>
            <pc:sldMk cId="865606007" sldId="279"/>
            <ac:spMk id="629" creationId="{1639B4E2-606C-D84D-3E81-361F449E1B7D}"/>
          </ac:spMkLst>
        </pc:spChg>
        <pc:spChg chg="add del mod">
          <ac:chgData name="Oğuz Öztekin" userId="33c0df0f-d5fe-4bda-8f43-141ad7af67e3" providerId="ADAL" clId="{18BFCD08-9838-4C62-912A-E59CEE905FD1}" dt="2024-12-17T08:34:44.360" v="26808"/>
          <ac:spMkLst>
            <pc:docMk/>
            <pc:sldMk cId="865606007" sldId="279"/>
            <ac:spMk id="630" creationId="{BB7CB6BA-B822-5A66-2F77-0A39A9B4A328}"/>
          </ac:spMkLst>
        </pc:spChg>
        <pc:spChg chg="add del mod">
          <ac:chgData name="Oğuz Öztekin" userId="33c0df0f-d5fe-4bda-8f43-141ad7af67e3" providerId="ADAL" clId="{18BFCD08-9838-4C62-912A-E59CEE905FD1}" dt="2024-12-17T08:34:44.360" v="26809"/>
          <ac:spMkLst>
            <pc:docMk/>
            <pc:sldMk cId="865606007" sldId="279"/>
            <ac:spMk id="631" creationId="{15054DBC-D22D-0E43-5BBC-B58E63E5D19C}"/>
          </ac:spMkLst>
        </pc:spChg>
        <pc:spChg chg="add del mod">
          <ac:chgData name="Oğuz Öztekin" userId="33c0df0f-d5fe-4bda-8f43-141ad7af67e3" providerId="ADAL" clId="{18BFCD08-9838-4C62-912A-E59CEE905FD1}" dt="2024-12-17T08:34:44.361" v="26810"/>
          <ac:spMkLst>
            <pc:docMk/>
            <pc:sldMk cId="865606007" sldId="279"/>
            <ac:spMk id="632" creationId="{A96398CD-DD84-E6EE-62B6-E3A1B7593C0A}"/>
          </ac:spMkLst>
        </pc:spChg>
        <pc:spChg chg="add del mod">
          <ac:chgData name="Oğuz Öztekin" userId="33c0df0f-d5fe-4bda-8f43-141ad7af67e3" providerId="ADAL" clId="{18BFCD08-9838-4C62-912A-E59CEE905FD1}" dt="2024-12-17T08:34:44.362" v="26811"/>
          <ac:spMkLst>
            <pc:docMk/>
            <pc:sldMk cId="865606007" sldId="279"/>
            <ac:spMk id="633" creationId="{E41CD0D7-A7EF-23E3-236E-37711E0849E2}"/>
          </ac:spMkLst>
        </pc:spChg>
        <pc:spChg chg="add del mod">
          <ac:chgData name="Oğuz Öztekin" userId="33c0df0f-d5fe-4bda-8f43-141ad7af67e3" providerId="ADAL" clId="{18BFCD08-9838-4C62-912A-E59CEE905FD1}" dt="2024-12-17T08:34:44.363" v="26812"/>
          <ac:spMkLst>
            <pc:docMk/>
            <pc:sldMk cId="865606007" sldId="279"/>
            <ac:spMk id="634" creationId="{66D1FDA2-BE4F-8192-8588-03843ECAB06F}"/>
          </ac:spMkLst>
        </pc:spChg>
        <pc:spChg chg="add del mod">
          <ac:chgData name="Oğuz Öztekin" userId="33c0df0f-d5fe-4bda-8f43-141ad7af67e3" providerId="ADAL" clId="{18BFCD08-9838-4C62-912A-E59CEE905FD1}" dt="2024-12-17T08:34:44.363" v="26813"/>
          <ac:spMkLst>
            <pc:docMk/>
            <pc:sldMk cId="865606007" sldId="279"/>
            <ac:spMk id="635" creationId="{5766CDCF-9888-5C88-9D76-4F8409961029}"/>
          </ac:spMkLst>
        </pc:spChg>
        <pc:spChg chg="add del mod">
          <ac:chgData name="Oğuz Öztekin" userId="33c0df0f-d5fe-4bda-8f43-141ad7af67e3" providerId="ADAL" clId="{18BFCD08-9838-4C62-912A-E59CEE905FD1}" dt="2024-12-17T08:34:44.364" v="26814"/>
          <ac:spMkLst>
            <pc:docMk/>
            <pc:sldMk cId="865606007" sldId="279"/>
            <ac:spMk id="636" creationId="{6B99D9D3-A9D5-6827-396F-0785457F56DB}"/>
          </ac:spMkLst>
        </pc:spChg>
        <pc:spChg chg="add del mod modVis">
          <ac:chgData name="Oğuz Öztekin" userId="33c0df0f-d5fe-4bda-8f43-141ad7af67e3" providerId="ADAL" clId="{18BFCD08-9838-4C62-912A-E59CEE905FD1}" dt="2024-12-17T08:34:44.433" v="26878"/>
          <ac:spMkLst>
            <pc:docMk/>
            <pc:sldMk cId="865606007" sldId="279"/>
            <ac:spMk id="638" creationId="{93BAC0DE-FD59-07BA-20A2-53C49D31078D}"/>
          </ac:spMkLst>
        </pc:spChg>
        <pc:graphicFrameChg chg="mod">
          <ac:chgData name="Oğuz Öztekin" userId="33c0df0f-d5fe-4bda-8f43-141ad7af67e3" providerId="ADAL" clId="{18BFCD08-9838-4C62-912A-E59CEE905FD1}" dt="2024-12-17T08:34:44.435" v="26880"/>
          <ac:graphicFrameMkLst>
            <pc:docMk/>
            <pc:sldMk cId="865606007" sldId="279"/>
            <ac:graphicFrameMk id="3" creationId="{9DF14670-A328-00A1-9CE6-CE088B94F642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0:54.493" v="1791"/>
          <ac:graphicFrameMkLst>
            <pc:docMk/>
            <pc:sldMk cId="865606007" sldId="279"/>
            <ac:graphicFrameMk id="6" creationId="{07D850FA-FAEC-2E05-06FA-1A2B8FFF4813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1:56.916" v="4303"/>
          <ac:graphicFrameMkLst>
            <pc:docMk/>
            <pc:sldMk cId="865606007" sldId="279"/>
            <ac:graphicFrameMk id="44" creationId="{9BEE6E6B-967D-6C00-58F8-1ADB4547DB64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1:59.201" v="4540"/>
          <ac:graphicFrameMkLst>
            <pc:docMk/>
            <pc:sldMk cId="865606007" sldId="279"/>
            <ac:graphicFrameMk id="58" creationId="{F12C9318-34E5-9EA8-97A6-626F30501C46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2:02.160" v="5162"/>
          <ac:graphicFrameMkLst>
            <pc:docMk/>
            <pc:sldMk cId="865606007" sldId="279"/>
            <ac:graphicFrameMk id="60" creationId="{B58A4091-796D-513D-60AB-A229087AAA84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5:35.967" v="5327"/>
          <ac:graphicFrameMkLst>
            <pc:docMk/>
            <pc:sldMk cId="865606007" sldId="279"/>
            <ac:graphicFrameMk id="73" creationId="{187CB384-3364-F694-6636-8553E6B4C4AE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5:37.978" v="5439"/>
          <ac:graphicFrameMkLst>
            <pc:docMk/>
            <pc:sldMk cId="865606007" sldId="279"/>
            <ac:graphicFrameMk id="75" creationId="{51D90781-21C6-6760-240A-19385525F314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5:39.558" v="5549"/>
          <ac:graphicFrameMkLst>
            <pc:docMk/>
            <pc:sldMk cId="865606007" sldId="279"/>
            <ac:graphicFrameMk id="77" creationId="{91FACD9E-B0EA-A7A5-A397-DACE83E9B3FB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5:41.299" v="5657"/>
          <ac:graphicFrameMkLst>
            <pc:docMk/>
            <pc:sldMk cId="865606007" sldId="279"/>
            <ac:graphicFrameMk id="79" creationId="{9239CFEE-A525-88A6-B997-B98C200BE6F0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5:42.722" v="5763"/>
          <ac:graphicFrameMkLst>
            <pc:docMk/>
            <pc:sldMk cId="865606007" sldId="279"/>
            <ac:graphicFrameMk id="81" creationId="{DBFB18E2-C166-75EE-9533-A330D170FCC5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5:45.015" v="5867"/>
          <ac:graphicFrameMkLst>
            <pc:docMk/>
            <pc:sldMk cId="865606007" sldId="279"/>
            <ac:graphicFrameMk id="83" creationId="{E46C3238-1423-7F8F-99C8-84D099BF8662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5:48.411" v="5969"/>
          <ac:graphicFrameMkLst>
            <pc:docMk/>
            <pc:sldMk cId="865606007" sldId="279"/>
            <ac:graphicFrameMk id="85" creationId="{B32C7D27-C294-E1A2-F245-089422462AEF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7:18.170" v="6704"/>
          <ac:graphicFrameMkLst>
            <pc:docMk/>
            <pc:sldMk cId="865606007" sldId="279"/>
            <ac:graphicFrameMk id="94" creationId="{0EAB73CC-1EC3-3C96-9D39-D04266A82429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8:07.966" v="8846"/>
          <ac:graphicFrameMkLst>
            <pc:docMk/>
            <pc:sldMk cId="865606007" sldId="279"/>
            <ac:graphicFrameMk id="160" creationId="{B7289056-63A9-DEDC-AB6F-DDCD80F2E9E0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8:15.022" v="9006"/>
          <ac:graphicFrameMkLst>
            <pc:docMk/>
            <pc:sldMk cId="865606007" sldId="279"/>
            <ac:graphicFrameMk id="162" creationId="{1127F7BC-D61D-20DB-2B8B-10042AAEB937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9:01.219" v="9290"/>
          <ac:graphicFrameMkLst>
            <pc:docMk/>
            <pc:sldMk cId="865606007" sldId="279"/>
            <ac:graphicFrameMk id="164" creationId="{99BC3668-DE0F-5BDC-513B-F4BFBE0BE749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9:17.282" v="9768"/>
          <ac:graphicFrameMkLst>
            <pc:docMk/>
            <pc:sldMk cId="865606007" sldId="279"/>
            <ac:graphicFrameMk id="170" creationId="{322264A4-76BC-61BC-B05E-643A414F2AEE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29:11.172" v="9582"/>
          <ac:graphicFrameMkLst>
            <pc:docMk/>
            <pc:sldMk cId="865606007" sldId="279"/>
            <ac:graphicFrameMk id="172" creationId="{856A8986-6F43-7DF4-42CE-54654DB66B00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9:45.372" v="12067"/>
          <ac:graphicFrameMkLst>
            <pc:docMk/>
            <pc:sldMk cId="865606007" sldId="279"/>
            <ac:graphicFrameMk id="174" creationId="{8C16C9A4-9BDB-9259-8973-CF6837DC5F72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9:31.979" v="10520"/>
          <ac:graphicFrameMkLst>
            <pc:docMk/>
            <pc:sldMk cId="865606007" sldId="279"/>
            <ac:graphicFrameMk id="176" creationId="{F09CD43F-9D1A-730D-AF47-5C855818B3F2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9:30.713" v="10475"/>
          <ac:graphicFrameMkLst>
            <pc:docMk/>
            <pc:sldMk cId="865606007" sldId="279"/>
            <ac:graphicFrameMk id="178" creationId="{652CB815-E4D1-03B5-2B49-A182BBE1165C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29:30.158" v="10431"/>
          <ac:graphicFrameMkLst>
            <pc:docMk/>
            <pc:sldMk cId="865606007" sldId="279"/>
            <ac:graphicFrameMk id="182" creationId="{D1605DF0-89F1-DB8B-4A02-05A191A83536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29:37.500" v="10850"/>
          <ac:graphicFrameMkLst>
            <pc:docMk/>
            <pc:sldMk cId="865606007" sldId="279"/>
            <ac:graphicFrameMk id="184" creationId="{856D8386-F4B1-FB2C-4E5F-DBF70E414C19}"/>
          </ac:graphicFrameMkLst>
        </pc:graphicFrameChg>
        <pc:graphicFrameChg chg="add del mod">
          <ac:chgData name="Oğuz Öztekin" userId="33c0df0f-d5fe-4bda-8f43-141ad7af67e3" providerId="ADAL" clId="{18BFCD08-9838-4C62-912A-E59CEE905FD1}" dt="2024-12-17T08:29:40.252" v="11885"/>
          <ac:graphicFrameMkLst>
            <pc:docMk/>
            <pc:sldMk cId="865606007" sldId="279"/>
            <ac:graphicFrameMk id="185" creationId="{77FF5B6A-4C3B-2EEC-F2AE-114A4DDCAB7A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0:59.213" v="2912"/>
          <ac:graphicFrameMkLst>
            <pc:docMk/>
            <pc:sldMk cId="865606007" sldId="279"/>
            <ac:graphicFrameMk id="263" creationId="{3079C390-F395-BC6B-9C8E-7CCBFA19E81E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7:24.709" v="7366"/>
          <ac:graphicFrameMkLst>
            <pc:docMk/>
            <pc:sldMk cId="865606007" sldId="279"/>
            <ac:graphicFrameMk id="363" creationId="{40896F07-B2EF-CB48-003B-D5149571BF23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7:35.556" v="8440"/>
          <ac:graphicFrameMkLst>
            <pc:docMk/>
            <pc:sldMk cId="865606007" sldId="279"/>
            <ac:graphicFrameMk id="377" creationId="{E61AB5AF-A635-34FF-EE40-A9049F41E63D}"/>
          </ac:graphicFrameMkLst>
        </pc:graphicFrameChg>
        <pc:graphicFrameChg chg="del">
          <ac:chgData name="Oğuz Öztekin" userId="33c0df0f-d5fe-4bda-8f43-141ad7af67e3" providerId="ADAL" clId="{18BFCD08-9838-4C62-912A-E59CEE905FD1}" dt="2024-12-17T08:20:45.982" v="235"/>
          <ac:graphicFrameMkLst>
            <pc:docMk/>
            <pc:sldMk cId="865606007" sldId="279"/>
            <ac:graphicFrameMk id="410" creationId="{B9E0984C-8A0E-FF23-1DD2-F8337BCB2559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8:04.610" v="8582"/>
          <ac:graphicFrameMkLst>
            <pc:docMk/>
            <pc:sldMk cId="865606007" sldId="279"/>
            <ac:graphicFrameMk id="412" creationId="{E25E9F1F-95F9-7DFF-8AD3-35BAD03ABCE7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8:05.683" v="8714"/>
          <ac:graphicFrameMkLst>
            <pc:docMk/>
            <pc:sldMk cId="865606007" sldId="279"/>
            <ac:graphicFrameMk id="414" creationId="{2B6FBD78-C231-2CBC-566E-F20453E0626F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29:40.252" v="11885"/>
          <ac:graphicFrameMkLst>
            <pc:docMk/>
            <pc:sldMk cId="865606007" sldId="279"/>
            <ac:graphicFrameMk id="422" creationId="{8AD82DDD-F838-1C2F-A444-2B82F3E961A3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30:35.258" v="15704"/>
          <ac:graphicFrameMkLst>
            <pc:docMk/>
            <pc:sldMk cId="865606007" sldId="279"/>
            <ac:graphicFrameMk id="424" creationId="{E6582ACE-ACBC-A180-EDAC-C42A8AAFE03D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30:05.342" v="13148"/>
          <ac:graphicFrameMkLst>
            <pc:docMk/>
            <pc:sldMk cId="865606007" sldId="279"/>
            <ac:graphicFrameMk id="437" creationId="{AE358DC3-5639-7FA6-4B52-2B82868BB210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30:13.546" v="13544"/>
          <ac:graphicFrameMkLst>
            <pc:docMk/>
            <pc:sldMk cId="865606007" sldId="279"/>
            <ac:graphicFrameMk id="439" creationId="{EA97B9B9-F284-CF31-EBB9-6CD236DB6477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30:25.414" v="13936"/>
          <ac:graphicFrameMkLst>
            <pc:docMk/>
            <pc:sldMk cId="865606007" sldId="279"/>
            <ac:graphicFrameMk id="441" creationId="{BC5B7FF9-5E46-BE87-10C0-CC4D94074B3B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30:31.771" v="14376"/>
          <ac:graphicFrameMkLst>
            <pc:docMk/>
            <pc:sldMk cId="865606007" sldId="279"/>
            <ac:graphicFrameMk id="443" creationId="{F317E2A8-6EF9-E0E1-F293-69BBF739FDF3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30:57.041" v="15893"/>
          <ac:graphicFrameMkLst>
            <pc:docMk/>
            <pc:sldMk cId="865606007" sldId="279"/>
            <ac:graphicFrameMk id="465" creationId="{1794C39B-2808-D74C-8AD2-AFFAC5915B19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32:41.737" v="20908"/>
          <ac:graphicFrameMkLst>
            <pc:docMk/>
            <pc:sldMk cId="865606007" sldId="279"/>
            <ac:graphicFrameMk id="469" creationId="{1B0F4335-F0B1-AC1F-B494-FE11FAB4116A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31:10.495" v="18147"/>
          <ac:graphicFrameMkLst>
            <pc:docMk/>
            <pc:sldMk cId="865606007" sldId="279"/>
            <ac:graphicFrameMk id="530" creationId="{8A652E77-BB23-F3EE-7AA7-A1C003C9E944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31:19.075" v="18690"/>
          <ac:graphicFrameMkLst>
            <pc:docMk/>
            <pc:sldMk cId="865606007" sldId="279"/>
            <ac:graphicFrameMk id="534" creationId="{0C353099-6082-8794-453A-A355E055DBF7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31:56.083" v="19642"/>
          <ac:graphicFrameMkLst>
            <pc:docMk/>
            <pc:sldMk cId="865606007" sldId="279"/>
            <ac:graphicFrameMk id="554" creationId="{85BAC24B-0833-78E7-FA31-AD16EA34913F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32:07.601" v="20111"/>
          <ac:graphicFrameMkLst>
            <pc:docMk/>
            <pc:sldMk cId="865606007" sldId="279"/>
            <ac:graphicFrameMk id="556" creationId="{76A7E6BE-58FB-91D0-DB01-65B2F35A4666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32:50.310" v="21078"/>
          <ac:graphicFrameMkLst>
            <pc:docMk/>
            <pc:sldMk cId="865606007" sldId="279"/>
            <ac:graphicFrameMk id="570" creationId="{A6FD2EBD-2D8D-AF35-97BC-D25E8BC44B37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33:21.744" v="21700"/>
          <ac:graphicFrameMkLst>
            <pc:docMk/>
            <pc:sldMk cId="865606007" sldId="279"/>
            <ac:graphicFrameMk id="572" creationId="{A48D2491-7E6F-6A0A-7AA5-40C5EF8D1C6B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33:03.045" v="21406"/>
          <ac:graphicFrameMkLst>
            <pc:docMk/>
            <pc:sldMk cId="865606007" sldId="279"/>
            <ac:graphicFrameMk id="575" creationId="{ED7A56AC-140F-44C5-5112-CAF6F4A31189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34:01.721" v="24121"/>
          <ac:graphicFrameMkLst>
            <pc:docMk/>
            <pc:sldMk cId="865606007" sldId="279"/>
            <ac:graphicFrameMk id="577" creationId="{0BF54C77-E5B6-D889-3D77-A0A12E0EA7E4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33:37.183" v="22882"/>
          <ac:graphicFrameMkLst>
            <pc:docMk/>
            <pc:sldMk cId="865606007" sldId="279"/>
            <ac:graphicFrameMk id="590" creationId="{8355A418-FC8E-014F-1783-B15C54D4CC9B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33:46.595" v="23424"/>
          <ac:graphicFrameMkLst>
            <pc:docMk/>
            <pc:sldMk cId="865606007" sldId="279"/>
            <ac:graphicFrameMk id="594" creationId="{44D991A7-3A9B-0F56-3834-10DB7DD7D708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34:05.329" v="24455"/>
          <ac:graphicFrameMkLst>
            <pc:docMk/>
            <pc:sldMk cId="865606007" sldId="279"/>
            <ac:graphicFrameMk id="608" creationId="{CF7813F8-9A56-8475-A6F8-2EFDBBDB7E26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34:07.136" v="24631"/>
          <ac:graphicFrameMkLst>
            <pc:docMk/>
            <pc:sldMk cId="865606007" sldId="279"/>
            <ac:graphicFrameMk id="610" creationId="{78862061-BA44-9F5A-2DF9-80F9D7E0887F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34:07.861" v="24807"/>
          <ac:graphicFrameMkLst>
            <pc:docMk/>
            <pc:sldMk cId="865606007" sldId="279"/>
            <ac:graphicFrameMk id="612" creationId="{298A2CD4-6F0C-8CBB-0684-29774CCDA7FD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34:11.013" v="25141"/>
          <ac:graphicFrameMkLst>
            <pc:docMk/>
            <pc:sldMk cId="865606007" sldId="279"/>
            <ac:graphicFrameMk id="614" creationId="{F05C5A08-6274-DA9D-E4DF-1249C8FB33C2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34:13.795" v="25475"/>
          <ac:graphicFrameMkLst>
            <pc:docMk/>
            <pc:sldMk cId="865606007" sldId="279"/>
            <ac:graphicFrameMk id="616" creationId="{821E593B-3AD7-F870-2C38-48CA7184CAB9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34:15.316" v="25660"/>
          <ac:graphicFrameMkLst>
            <pc:docMk/>
            <pc:sldMk cId="865606007" sldId="279"/>
            <ac:graphicFrameMk id="618" creationId="{9438F7C3-727D-6C22-51C0-4AE5EA294D0F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34:32.106" v="25832"/>
          <ac:graphicFrameMkLst>
            <pc:docMk/>
            <pc:sldMk cId="865606007" sldId="279"/>
            <ac:graphicFrameMk id="620" creationId="{A65946AF-B98C-C3BC-06F4-ECF15B387883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34:33.620" v="25995"/>
          <ac:graphicFrameMkLst>
            <pc:docMk/>
            <pc:sldMk cId="865606007" sldId="279"/>
            <ac:graphicFrameMk id="622" creationId="{D73F4BE4-5111-ED1C-8E07-1DF1BA6A47AF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34:42.788" v="26633"/>
          <ac:graphicFrameMkLst>
            <pc:docMk/>
            <pc:sldMk cId="865606007" sldId="279"/>
            <ac:graphicFrameMk id="624" creationId="{FD7140B7-DF9E-1C01-96C5-2618C020CF3E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34:44.367" v="26816"/>
          <ac:graphicFrameMkLst>
            <pc:docMk/>
            <pc:sldMk cId="865606007" sldId="279"/>
            <ac:graphicFrameMk id="637" creationId="{9D7C1A8B-E974-DB8C-EF75-7526C10B5163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34:44.386" v="26825"/>
          <ac:graphicFrameMkLst>
            <pc:docMk/>
            <pc:sldMk cId="865606007" sldId="279"/>
            <ac:graphicFrameMk id="639" creationId="{13F6BA38-144A-A17C-FEA4-7D6A71C374F7}"/>
          </ac:graphicFrameMkLst>
        </pc:graphicFrameChg>
        <pc:cxnChg chg="del">
          <ac:chgData name="Oğuz Öztekin" userId="33c0df0f-d5fe-4bda-8f43-141ad7af67e3" providerId="ADAL" clId="{18BFCD08-9838-4C62-912A-E59CEE905FD1}" dt="2024-12-17T08:20:45.967" v="233"/>
          <ac:cxnSpMkLst>
            <pc:docMk/>
            <pc:sldMk cId="865606007" sldId="279"/>
            <ac:cxnSpMk id="68" creationId="{A46B3E4F-DEE8-22BA-882C-F8E2480463D5}"/>
          </ac:cxnSpMkLst>
        </pc:cxnChg>
        <pc:cxnChg chg="add del mod ord">
          <ac:chgData name="Oğuz Öztekin" userId="33c0df0f-d5fe-4bda-8f43-141ad7af67e3" providerId="ADAL" clId="{18BFCD08-9838-4C62-912A-E59CEE905FD1}" dt="2024-12-17T08:29:45.216" v="11889"/>
          <ac:cxnSpMkLst>
            <pc:docMk/>
            <pc:sldMk cId="865606007" sldId="279"/>
            <ac:cxnSpMk id="169" creationId="{EA8C06BC-559E-C4BA-3AD5-A4FE622C1597}"/>
          </ac:cxnSpMkLst>
        </pc:cxnChg>
        <pc:cxnChg chg="add mod ord">
          <ac:chgData name="Oğuz Öztekin" userId="33c0df0f-d5fe-4bda-8f43-141ad7af67e3" providerId="ADAL" clId="{18BFCD08-9838-4C62-912A-E59CEE905FD1}" dt="2024-12-17T08:29:40.252" v="11885"/>
          <ac:cxnSpMkLst>
            <pc:docMk/>
            <pc:sldMk cId="865606007" sldId="279"/>
            <ac:cxnSpMk id="199" creationId="{629172E8-5011-714D-A597-8F3B7FCAF79F}"/>
          </ac:cxnSpMkLst>
        </pc:cxnChg>
        <pc:cxnChg chg="add del mod ord">
          <ac:chgData name="Oğuz Öztekin" userId="33c0df0f-d5fe-4bda-8f43-141ad7af67e3" providerId="ADAL" clId="{18BFCD08-9838-4C62-912A-E59CEE905FD1}" dt="2024-12-17T08:30:35.276" v="15719"/>
          <ac:cxnSpMkLst>
            <pc:docMk/>
            <pc:sldMk cId="865606007" sldId="279"/>
            <ac:cxnSpMk id="378" creationId="{DF06F652-E141-327A-DED1-8A665B1F1049}"/>
          </ac:cxnSpMkLst>
        </pc:cxnChg>
        <pc:cxnChg chg="add del mod ord">
          <ac:chgData name="Oğuz Öztekin" userId="33c0df0f-d5fe-4bda-8f43-141ad7af67e3" providerId="ADAL" clId="{18BFCD08-9838-4C62-912A-E59CEE905FD1}" dt="2024-12-17T08:30:35.276" v="15732"/>
          <ac:cxnSpMkLst>
            <pc:docMk/>
            <pc:sldMk cId="865606007" sldId="279"/>
            <ac:cxnSpMk id="379" creationId="{6BA6BBEE-2C6D-9155-BE53-18C961361CE5}"/>
          </ac:cxnSpMkLst>
        </pc:cxnChg>
        <pc:cxnChg chg="add mod ord">
          <ac:chgData name="Oğuz Öztekin" userId="33c0df0f-d5fe-4bda-8f43-141ad7af67e3" providerId="ADAL" clId="{18BFCD08-9838-4C62-912A-E59CEE905FD1}" dt="2024-12-17T08:29:40.252" v="11885"/>
          <ac:cxnSpMkLst>
            <pc:docMk/>
            <pc:sldMk cId="865606007" sldId="279"/>
            <ac:cxnSpMk id="417" creationId="{5E56AA15-9181-9E02-7637-933A421B2312}"/>
          </ac:cxnSpMkLst>
        </pc:cxnChg>
        <pc:cxnChg chg="add mod ord">
          <ac:chgData name="Oğuz Öztekin" userId="33c0df0f-d5fe-4bda-8f43-141ad7af67e3" providerId="ADAL" clId="{18BFCD08-9838-4C62-912A-E59CEE905FD1}" dt="2024-12-17T08:29:40.252" v="11885"/>
          <ac:cxnSpMkLst>
            <pc:docMk/>
            <pc:sldMk cId="865606007" sldId="279"/>
            <ac:cxnSpMk id="418" creationId="{BDCCD8F9-04D5-0382-ED8A-0912D6D96DEA}"/>
          </ac:cxnSpMkLst>
        </pc:cxnChg>
        <pc:cxnChg chg="add mod ord">
          <ac:chgData name="Oğuz Öztekin" userId="33c0df0f-d5fe-4bda-8f43-141ad7af67e3" providerId="ADAL" clId="{18BFCD08-9838-4C62-912A-E59CEE905FD1}" dt="2024-12-17T08:31:10.495" v="18147"/>
          <ac:cxnSpMkLst>
            <pc:docMk/>
            <pc:sldMk cId="865606007" sldId="279"/>
            <ac:cxnSpMk id="517" creationId="{84A845AF-A2D7-0A30-CDD4-9F93ABFEBE2D}"/>
          </ac:cxnSpMkLst>
        </pc:cxnChg>
        <pc:cxnChg chg="add mod ord">
          <ac:chgData name="Oğuz Öztekin" userId="33c0df0f-d5fe-4bda-8f43-141ad7af67e3" providerId="ADAL" clId="{18BFCD08-9838-4C62-912A-E59CEE905FD1}" dt="2024-12-17T08:31:10.495" v="18147"/>
          <ac:cxnSpMkLst>
            <pc:docMk/>
            <pc:sldMk cId="865606007" sldId="279"/>
            <ac:cxnSpMk id="518" creationId="{3A449A43-3140-4383-6F0E-CBD331C8F528}"/>
          </ac:cxnSpMkLst>
        </pc:cxnChg>
        <pc:cxnChg chg="add mod ord">
          <ac:chgData name="Oğuz Öztekin" userId="33c0df0f-d5fe-4bda-8f43-141ad7af67e3" providerId="ADAL" clId="{18BFCD08-9838-4C62-912A-E59CEE905FD1}" dt="2024-12-17T08:31:10.495" v="18147"/>
          <ac:cxnSpMkLst>
            <pc:docMk/>
            <pc:sldMk cId="865606007" sldId="279"/>
            <ac:cxnSpMk id="519" creationId="{88AF88CB-19B5-7983-8D5B-78C6D5260512}"/>
          </ac:cxnSpMkLst>
        </pc:cxnChg>
        <pc:cxnChg chg="add mod ord">
          <ac:chgData name="Oğuz Öztekin" userId="33c0df0f-d5fe-4bda-8f43-141ad7af67e3" providerId="ADAL" clId="{18BFCD08-9838-4C62-912A-E59CEE905FD1}" dt="2024-12-17T08:31:10.495" v="18147"/>
          <ac:cxnSpMkLst>
            <pc:docMk/>
            <pc:sldMk cId="865606007" sldId="279"/>
            <ac:cxnSpMk id="520" creationId="{83CC6CAD-6688-E389-7C73-E1DE7BE14E1A}"/>
          </ac:cxnSpMkLst>
        </pc:cxnChg>
        <pc:cxnChg chg="add mod ord">
          <ac:chgData name="Oğuz Öztekin" userId="33c0df0f-d5fe-4bda-8f43-141ad7af67e3" providerId="ADAL" clId="{18BFCD08-9838-4C62-912A-E59CEE905FD1}" dt="2024-12-17T08:31:10.495" v="18147"/>
          <ac:cxnSpMkLst>
            <pc:docMk/>
            <pc:sldMk cId="865606007" sldId="279"/>
            <ac:cxnSpMk id="521" creationId="{86DC9F5F-116E-B1B4-B5AB-B7194133AE41}"/>
          </ac:cxnSpMkLst>
        </pc:cxnChg>
        <pc:cxnChg chg="add mod ord">
          <ac:chgData name="Oğuz Öztekin" userId="33c0df0f-d5fe-4bda-8f43-141ad7af67e3" providerId="ADAL" clId="{18BFCD08-9838-4C62-912A-E59CEE905FD1}" dt="2024-12-17T08:31:10.495" v="18147"/>
          <ac:cxnSpMkLst>
            <pc:docMk/>
            <pc:sldMk cId="865606007" sldId="279"/>
            <ac:cxnSpMk id="522" creationId="{51A974E5-830D-C3A1-1EB8-4B667D27C94C}"/>
          </ac:cxnSpMkLst>
        </pc:cxnChg>
        <pc:cxnChg chg="add mod ord">
          <ac:chgData name="Oğuz Öztekin" userId="33c0df0f-d5fe-4bda-8f43-141ad7af67e3" providerId="ADAL" clId="{18BFCD08-9838-4C62-912A-E59CEE905FD1}" dt="2024-12-17T08:31:10.495" v="18147"/>
          <ac:cxnSpMkLst>
            <pc:docMk/>
            <pc:sldMk cId="865606007" sldId="279"/>
            <ac:cxnSpMk id="523" creationId="{47BC0D57-A71C-AA90-AF85-09BCF81519B3}"/>
          </ac:cxnSpMkLst>
        </pc:cxnChg>
        <pc:cxnChg chg="add mod ord">
          <ac:chgData name="Oğuz Öztekin" userId="33c0df0f-d5fe-4bda-8f43-141ad7af67e3" providerId="ADAL" clId="{18BFCD08-9838-4C62-912A-E59CEE905FD1}" dt="2024-12-17T08:31:10.495" v="18147"/>
          <ac:cxnSpMkLst>
            <pc:docMk/>
            <pc:sldMk cId="865606007" sldId="279"/>
            <ac:cxnSpMk id="524" creationId="{331CFD10-12F6-F7D3-E5B5-0FB8D4095985}"/>
          </ac:cxnSpMkLst>
        </pc:cxnChg>
        <pc:cxnChg chg="add mod ord">
          <ac:chgData name="Oğuz Öztekin" userId="33c0df0f-d5fe-4bda-8f43-141ad7af67e3" providerId="ADAL" clId="{18BFCD08-9838-4C62-912A-E59CEE905FD1}" dt="2024-12-17T08:31:10.495" v="18147"/>
          <ac:cxnSpMkLst>
            <pc:docMk/>
            <pc:sldMk cId="865606007" sldId="279"/>
            <ac:cxnSpMk id="525" creationId="{AB4ACA6A-703B-7E53-7790-31C979C24CC0}"/>
          </ac:cxnSpMkLst>
        </pc:cxnChg>
        <pc:cxnChg chg="add mod ord">
          <ac:chgData name="Oğuz Öztekin" userId="33c0df0f-d5fe-4bda-8f43-141ad7af67e3" providerId="ADAL" clId="{18BFCD08-9838-4C62-912A-E59CEE905FD1}" dt="2024-12-17T08:31:10.495" v="18147"/>
          <ac:cxnSpMkLst>
            <pc:docMk/>
            <pc:sldMk cId="865606007" sldId="279"/>
            <ac:cxnSpMk id="526" creationId="{AC42FF25-FE2E-A47B-E69A-9025598C3E02}"/>
          </ac:cxnSpMkLst>
        </pc:cxnChg>
        <pc:cxnChg chg="add mod ord">
          <ac:chgData name="Oğuz Öztekin" userId="33c0df0f-d5fe-4bda-8f43-141ad7af67e3" providerId="ADAL" clId="{18BFCD08-9838-4C62-912A-E59CEE905FD1}" dt="2024-12-17T08:31:10.495" v="18147"/>
          <ac:cxnSpMkLst>
            <pc:docMk/>
            <pc:sldMk cId="865606007" sldId="279"/>
            <ac:cxnSpMk id="527" creationId="{0D3F3E7B-CC09-0967-DFF8-4239691D1FB6}"/>
          </ac:cxnSpMkLst>
        </pc:cxnChg>
        <pc:cxnChg chg="add mod ord">
          <ac:chgData name="Oğuz Öztekin" userId="33c0df0f-d5fe-4bda-8f43-141ad7af67e3" providerId="ADAL" clId="{18BFCD08-9838-4C62-912A-E59CEE905FD1}" dt="2024-12-17T08:31:10.495" v="18147"/>
          <ac:cxnSpMkLst>
            <pc:docMk/>
            <pc:sldMk cId="865606007" sldId="279"/>
            <ac:cxnSpMk id="528" creationId="{7DE12E23-1755-F27F-00DA-8121A3303C43}"/>
          </ac:cxnSpMkLst>
        </pc:cxnChg>
        <pc:cxnChg chg="add mod ord">
          <ac:chgData name="Oğuz Öztekin" userId="33c0df0f-d5fe-4bda-8f43-141ad7af67e3" providerId="ADAL" clId="{18BFCD08-9838-4C62-912A-E59CEE905FD1}" dt="2024-12-17T08:31:10.495" v="18147"/>
          <ac:cxnSpMkLst>
            <pc:docMk/>
            <pc:sldMk cId="865606007" sldId="279"/>
            <ac:cxnSpMk id="529" creationId="{58E17AC6-8ED9-9D40-5A97-1F9D6B62F4BC}"/>
          </ac:cxnSpMkLst>
        </pc:cxnChg>
        <pc:cxnChg chg="add mod ord">
          <ac:chgData name="Oğuz Öztekin" userId="33c0df0f-d5fe-4bda-8f43-141ad7af67e3" providerId="ADAL" clId="{18BFCD08-9838-4C62-912A-E59CEE905FD1}" dt="2024-12-17T08:31:19.075" v="18690"/>
          <ac:cxnSpMkLst>
            <pc:docMk/>
            <pc:sldMk cId="865606007" sldId="279"/>
            <ac:cxnSpMk id="533" creationId="{07C83AAB-F314-BB15-FEC5-278FCB136A56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36" creationId="{ACA927A3-EE21-68CC-D003-552408868738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37" creationId="{07FD26E9-74EC-11DA-3414-DFBCA7492863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38" creationId="{052E7011-869B-2DE9-4332-A621AE5AC43F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39" creationId="{86C6A164-5358-3661-9744-5CF760F53CB2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40" creationId="{EF712E21-9CD6-B1A2-BDB5-D35E6C5A0423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41" creationId="{06B99560-9833-DCB9-12CB-7BF1DAE3A263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42" creationId="{37B3F187-DF42-B785-D292-56563D2A4EF9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43" creationId="{87106977-B540-350D-9366-C8DDF10B3F0D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44" creationId="{CA6D148B-951C-D994-8E98-0816972A8061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45" creationId="{7DBDB031-35E1-0725-11F8-ABBEAFB64E59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46" creationId="{4AB56E4B-3B82-27C0-4FC7-9702B81B4F35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47" creationId="{3AF85321-74DE-0A31-6073-259EE4434AAF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48" creationId="{76528351-39F2-3426-67C5-4A2A8911B546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49" creationId="{59571CE9-6E80-0E6D-2146-E04C094571B4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50" creationId="{7CA30DDD-2921-20E0-8BF8-D38F50F639FD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51" creationId="{1AE7B1F8-C7CD-A598-5FE3-F288BAC54FCE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52" creationId="{37C91819-B270-FBE3-F323-0C603DB73DE1}"/>
          </ac:cxnSpMkLst>
        </pc:cxnChg>
        <pc:cxnChg chg="add mod ord">
          <ac:chgData name="Oğuz Öztekin" userId="33c0df0f-d5fe-4bda-8f43-141ad7af67e3" providerId="ADAL" clId="{18BFCD08-9838-4C62-912A-E59CEE905FD1}" dt="2024-12-17T08:31:56.083" v="19642"/>
          <ac:cxnSpMkLst>
            <pc:docMk/>
            <pc:sldMk cId="865606007" sldId="279"/>
            <ac:cxnSpMk id="553" creationId="{1A54AC79-3E42-1F99-6DF9-4BA418447159}"/>
          </ac:cxnSpMkLst>
        </pc:cxnChg>
        <pc:cxnChg chg="add mod ord">
          <ac:chgData name="Oğuz Öztekin" userId="33c0df0f-d5fe-4bda-8f43-141ad7af67e3" providerId="ADAL" clId="{18BFCD08-9838-4C62-912A-E59CEE905FD1}" dt="2024-12-17T08:33:03.045" v="21406"/>
          <ac:cxnSpMkLst>
            <pc:docMk/>
            <pc:sldMk cId="865606007" sldId="279"/>
            <ac:cxnSpMk id="574" creationId="{27914D2D-EAFC-2624-5208-A97D207FB4E2}"/>
          </ac:cxnSpMkLst>
        </pc:cxnChg>
      </pc:sldChg>
      <pc:sldChg chg="modSp mod">
        <pc:chgData name="Oğuz Öztekin" userId="33c0df0f-d5fe-4bda-8f43-141ad7af67e3" providerId="ADAL" clId="{18BFCD08-9838-4C62-912A-E59CEE905FD1}" dt="2024-12-17T08:16:48.666" v="3" actId="1076"/>
        <pc:sldMkLst>
          <pc:docMk/>
          <pc:sldMk cId="594020395" sldId="280"/>
        </pc:sldMkLst>
        <pc:spChg chg="mod">
          <ac:chgData name="Oğuz Öztekin" userId="33c0df0f-d5fe-4bda-8f43-141ad7af67e3" providerId="ADAL" clId="{18BFCD08-9838-4C62-912A-E59CEE905FD1}" dt="2024-12-17T08:16:48.666" v="3" actId="1076"/>
          <ac:spMkLst>
            <pc:docMk/>
            <pc:sldMk cId="594020395" sldId="280"/>
            <ac:spMk id="4" creationId="{5C8ADDD8-FD38-1FD5-0EDE-0D8546635FA7}"/>
          </ac:spMkLst>
        </pc:spChg>
      </pc:sldChg>
      <pc:sldChg chg="addSp modSp mod">
        <pc:chgData name="Oğuz Öztekin" userId="33c0df0f-d5fe-4bda-8f43-141ad7af67e3" providerId="ADAL" clId="{18BFCD08-9838-4C62-912A-E59CEE905FD1}" dt="2024-12-17T08:25:12.998" v="5256" actId="20577"/>
        <pc:sldMkLst>
          <pc:docMk/>
          <pc:sldMk cId="3145246505" sldId="285"/>
        </pc:sldMkLst>
        <pc:spChg chg="add mod">
          <ac:chgData name="Oğuz Öztekin" userId="33c0df0f-d5fe-4bda-8f43-141ad7af67e3" providerId="ADAL" clId="{18BFCD08-9838-4C62-912A-E59CEE905FD1}" dt="2024-12-17T08:25:12.998" v="5256" actId="20577"/>
          <ac:spMkLst>
            <pc:docMk/>
            <pc:sldMk cId="3145246505" sldId="285"/>
            <ac:spMk id="5" creationId="{06E8B853-7BCD-E43F-181D-F664D6376876}"/>
          </ac:spMkLst>
        </pc:spChg>
      </pc:sldChg>
      <pc:sldChg chg="addSp modSp">
        <pc:chgData name="Oğuz Öztekin" userId="33c0df0f-d5fe-4bda-8f43-141ad7af67e3" providerId="ADAL" clId="{18BFCD08-9838-4C62-912A-E59CEE905FD1}" dt="2024-12-17T08:25:18.659" v="5257"/>
        <pc:sldMkLst>
          <pc:docMk/>
          <pc:sldMk cId="2968481684" sldId="286"/>
        </pc:sldMkLst>
        <pc:spChg chg="add mod">
          <ac:chgData name="Oğuz Öztekin" userId="33c0df0f-d5fe-4bda-8f43-141ad7af67e3" providerId="ADAL" clId="{18BFCD08-9838-4C62-912A-E59CEE905FD1}" dt="2024-12-17T08:25:18.659" v="5257"/>
          <ac:spMkLst>
            <pc:docMk/>
            <pc:sldMk cId="2968481684" sldId="286"/>
            <ac:spMk id="4" creationId="{A95879C9-DB66-0A08-B73F-5941AAF833B2}"/>
          </ac:spMkLst>
        </pc:spChg>
      </pc:sldChg>
      <pc:sldChg chg="addSp delSp modSp mod">
        <pc:chgData name="Oğuz Öztekin" userId="33c0df0f-d5fe-4bda-8f43-141ad7af67e3" providerId="ADAL" clId="{18BFCD08-9838-4C62-912A-E59CEE905FD1}" dt="2024-12-17T08:35:09.064" v="27013"/>
        <pc:sldMkLst>
          <pc:docMk/>
          <pc:sldMk cId="939497345" sldId="300"/>
        </pc:sldMkLst>
        <pc:spChg chg="mod ord">
          <ac:chgData name="Oğuz Öztekin" userId="33c0df0f-d5fe-4bda-8f43-141ad7af67e3" providerId="ADAL" clId="{18BFCD08-9838-4C62-912A-E59CEE905FD1}" dt="2024-12-17T08:35:09.046" v="26959" actId="948"/>
          <ac:spMkLst>
            <pc:docMk/>
            <pc:sldMk cId="939497345" sldId="300"/>
            <ac:spMk id="2" creationId="{5FF386C9-0F8A-A2A7-C014-D5CB25A6D821}"/>
          </ac:spMkLst>
        </pc:spChg>
        <pc:spChg chg="add del mod modVis">
          <ac:chgData name="Oğuz Öztekin" userId="33c0df0f-d5fe-4bda-8f43-141ad7af67e3" providerId="ADAL" clId="{18BFCD08-9838-4C62-912A-E59CEE905FD1}" dt="2024-12-17T08:21:31.390" v="3345"/>
          <ac:spMkLst>
            <pc:docMk/>
            <pc:sldMk cId="939497345" sldId="300"/>
            <ac:spMk id="4" creationId="{5BAF3912-6A8A-E08A-74DC-5B13DF2A67BA}"/>
          </ac:spMkLst>
        </pc:spChg>
        <pc:spChg chg="add del mod">
          <ac:chgData name="Oğuz Öztekin" userId="33c0df0f-d5fe-4bda-8f43-141ad7af67e3" providerId="ADAL" clId="{18BFCD08-9838-4C62-912A-E59CEE905FD1}" dt="2024-12-17T08:21:33.071" v="3544"/>
          <ac:spMkLst>
            <pc:docMk/>
            <pc:sldMk cId="939497345" sldId="300"/>
            <ac:spMk id="5" creationId="{FED817B7-A7E3-80EA-82BB-E17A1FE22568}"/>
          </ac:spMkLst>
        </pc:spChg>
        <pc:spChg chg="add del mod">
          <ac:chgData name="Oğuz Öztekin" userId="33c0df0f-d5fe-4bda-8f43-141ad7af67e3" providerId="ADAL" clId="{18BFCD08-9838-4C62-912A-E59CEE905FD1}" dt="2024-12-17T08:21:33.071" v="3545"/>
          <ac:spMkLst>
            <pc:docMk/>
            <pc:sldMk cId="939497345" sldId="300"/>
            <ac:spMk id="6" creationId="{86A4C88C-58C0-53CE-FF6D-798AD5C8B574}"/>
          </ac:spMkLst>
        </pc:spChg>
        <pc:spChg chg="add del mod">
          <ac:chgData name="Oğuz Öztekin" userId="33c0df0f-d5fe-4bda-8f43-141ad7af67e3" providerId="ADAL" clId="{18BFCD08-9838-4C62-912A-E59CEE905FD1}" dt="2024-12-17T08:21:33.071" v="3546"/>
          <ac:spMkLst>
            <pc:docMk/>
            <pc:sldMk cId="939497345" sldId="300"/>
            <ac:spMk id="7" creationId="{A0720E2F-6645-0268-65A5-7CCA3ACD1347}"/>
          </ac:spMkLst>
        </pc:spChg>
        <pc:spChg chg="add del mod">
          <ac:chgData name="Oğuz Öztekin" userId="33c0df0f-d5fe-4bda-8f43-141ad7af67e3" providerId="ADAL" clId="{18BFCD08-9838-4C62-912A-E59CEE905FD1}" dt="2024-12-17T08:21:33.071" v="3547"/>
          <ac:spMkLst>
            <pc:docMk/>
            <pc:sldMk cId="939497345" sldId="300"/>
            <ac:spMk id="8" creationId="{46743628-44A4-6D4A-6DDE-E69F40D1A83B}"/>
          </ac:spMkLst>
        </pc:spChg>
        <pc:spChg chg="add del mod modVis">
          <ac:chgData name="Oğuz Öztekin" userId="33c0df0f-d5fe-4bda-8f43-141ad7af67e3" providerId="ADAL" clId="{18BFCD08-9838-4C62-912A-E59CEE905FD1}" dt="2024-12-17T08:21:31.887" v="3467"/>
          <ac:spMkLst>
            <pc:docMk/>
            <pc:sldMk cId="939497345" sldId="300"/>
            <ac:spMk id="10" creationId="{8D802920-6BC1-5F47-F184-288D8891FAA3}"/>
          </ac:spMkLst>
        </pc:spChg>
        <pc:spChg chg="add del mod modVis">
          <ac:chgData name="Oğuz Öztekin" userId="33c0df0f-d5fe-4bda-8f43-141ad7af67e3" providerId="ADAL" clId="{18BFCD08-9838-4C62-912A-E59CEE905FD1}" dt="2024-12-17T08:21:33.125" v="3603"/>
          <ac:spMkLst>
            <pc:docMk/>
            <pc:sldMk cId="939497345" sldId="300"/>
            <ac:spMk id="12" creationId="{5C86C66D-6258-E83B-2EB4-E75622ADD423}"/>
          </ac:spMkLst>
        </pc:spChg>
        <pc:spChg chg="add del mod modVis">
          <ac:chgData name="Oğuz Öztekin" userId="33c0df0f-d5fe-4bda-8f43-141ad7af67e3" providerId="ADAL" clId="{18BFCD08-9838-4C62-912A-E59CEE905FD1}" dt="2024-12-17T08:35:04.522" v="26954"/>
          <ac:spMkLst>
            <pc:docMk/>
            <pc:sldMk cId="939497345" sldId="300"/>
            <ac:spMk id="14" creationId="{A9CC3271-5700-9109-2449-5DF501ED4625}"/>
          </ac:spMkLst>
        </pc:spChg>
        <pc:spChg chg="mod">
          <ac:chgData name="Oğuz Öztekin" userId="33c0df0f-d5fe-4bda-8f43-141ad7af67e3" providerId="ADAL" clId="{18BFCD08-9838-4C62-912A-E59CEE905FD1}" dt="2024-12-17T08:21:33.118" v="3585"/>
          <ac:spMkLst>
            <pc:docMk/>
            <pc:sldMk cId="939497345" sldId="300"/>
            <ac:spMk id="51" creationId="{DEEA0302-C6E0-50F0-C61A-610755F424D8}"/>
          </ac:spMkLst>
        </pc:spChg>
        <pc:spChg chg="mod">
          <ac:chgData name="Oğuz Öztekin" userId="33c0df0f-d5fe-4bda-8f43-141ad7af67e3" providerId="ADAL" clId="{18BFCD08-9838-4C62-912A-E59CEE905FD1}" dt="2024-12-17T08:21:33.119" v="3587"/>
          <ac:spMkLst>
            <pc:docMk/>
            <pc:sldMk cId="939497345" sldId="300"/>
            <ac:spMk id="53" creationId="{C5C8F931-A477-7AED-7999-E80311843FC4}"/>
          </ac:spMkLst>
        </pc:spChg>
        <pc:spChg chg="mod ord">
          <ac:chgData name="Oğuz Öztekin" userId="33c0df0f-d5fe-4bda-8f43-141ad7af67e3" providerId="ADAL" clId="{18BFCD08-9838-4C62-912A-E59CEE905FD1}" dt="2024-12-17T08:21:33.123" v="3597"/>
          <ac:spMkLst>
            <pc:docMk/>
            <pc:sldMk cId="939497345" sldId="300"/>
            <ac:spMk id="179" creationId="{A6BFDF45-9E4B-55D0-1FFD-0C4EBA1721B0}"/>
          </ac:spMkLst>
        </pc:spChg>
        <pc:spChg chg="mod ord">
          <ac:chgData name="Oğuz Öztekin" userId="33c0df0f-d5fe-4bda-8f43-141ad7af67e3" providerId="ADAL" clId="{18BFCD08-9838-4C62-912A-E59CEE905FD1}" dt="2024-12-17T08:21:33.124" v="3599"/>
          <ac:spMkLst>
            <pc:docMk/>
            <pc:sldMk cId="939497345" sldId="300"/>
            <ac:spMk id="181" creationId="{BD1921F6-E480-7B56-3CFE-7ED7D6F4C800}"/>
          </ac:spMkLst>
        </pc:spChg>
        <pc:spChg chg="mod">
          <ac:chgData name="Oğuz Öztekin" userId="33c0df0f-d5fe-4bda-8f43-141ad7af67e3" providerId="ADAL" clId="{18BFCD08-9838-4C62-912A-E59CEE905FD1}" dt="2024-12-17T08:35:09.057" v="26985"/>
          <ac:spMkLst>
            <pc:docMk/>
            <pc:sldMk cId="939497345" sldId="300"/>
            <ac:spMk id="191" creationId="{98CA104F-5284-E29D-884F-FA3C56368098}"/>
          </ac:spMkLst>
        </pc:spChg>
        <pc:spChg chg="mod">
          <ac:chgData name="Oğuz Öztekin" userId="33c0df0f-d5fe-4bda-8f43-141ad7af67e3" providerId="ADAL" clId="{18BFCD08-9838-4C62-912A-E59CEE905FD1}" dt="2024-12-17T08:35:09.064" v="27011"/>
          <ac:spMkLst>
            <pc:docMk/>
            <pc:sldMk cId="939497345" sldId="300"/>
            <ac:spMk id="192" creationId="{FBE5BA54-1E85-FCD2-D0A0-B01004D1B007}"/>
          </ac:spMkLst>
        </pc:spChg>
        <pc:spChg chg="mod ord">
          <ac:chgData name="Oğuz Öztekin" userId="33c0df0f-d5fe-4bda-8f43-141ad7af67e3" providerId="ADAL" clId="{18BFCD08-9838-4C62-912A-E59CEE905FD1}" dt="2024-12-17T08:21:42.896" v="3606" actId="1076"/>
          <ac:spMkLst>
            <pc:docMk/>
            <pc:sldMk cId="939497345" sldId="300"/>
            <ac:spMk id="196" creationId="{EF6B68E9-44DD-58D0-AD51-37AD6DC862AA}"/>
          </ac:spMkLst>
        </pc:spChg>
        <pc:spChg chg="mod">
          <ac:chgData name="Oğuz Öztekin" userId="33c0df0f-d5fe-4bda-8f43-141ad7af67e3" providerId="ADAL" clId="{18BFCD08-9838-4C62-912A-E59CEE905FD1}" dt="2024-12-17T08:21:33.118" v="3584"/>
          <ac:spMkLst>
            <pc:docMk/>
            <pc:sldMk cId="939497345" sldId="300"/>
            <ac:spMk id="404" creationId="{D6CADD02-F9BC-3C1A-C44F-5AEA2FB45886}"/>
          </ac:spMkLst>
        </pc:spChg>
        <pc:spChg chg="mod">
          <ac:chgData name="Oğuz Öztekin" userId="33c0df0f-d5fe-4bda-8f43-141ad7af67e3" providerId="ADAL" clId="{18BFCD08-9838-4C62-912A-E59CEE905FD1}" dt="2024-12-17T08:21:33.118" v="3586"/>
          <ac:spMkLst>
            <pc:docMk/>
            <pc:sldMk cId="939497345" sldId="300"/>
            <ac:spMk id="406" creationId="{8EDB8651-DC8C-8054-41F7-E10377A62A76}"/>
          </ac:spMkLst>
        </pc:spChg>
        <pc:spChg chg="mod">
          <ac:chgData name="Oğuz Öztekin" userId="33c0df0f-d5fe-4bda-8f43-141ad7af67e3" providerId="ADAL" clId="{18BFCD08-9838-4C62-912A-E59CEE905FD1}" dt="2024-12-17T08:21:33.120" v="3588"/>
          <ac:spMkLst>
            <pc:docMk/>
            <pc:sldMk cId="939497345" sldId="300"/>
            <ac:spMk id="407" creationId="{787C4124-8E1E-26B6-A9C6-D204A404DAE5}"/>
          </ac:spMkLst>
        </pc:spChg>
        <pc:spChg chg="mod">
          <ac:chgData name="Oğuz Öztekin" userId="33c0df0f-d5fe-4bda-8f43-141ad7af67e3" providerId="ADAL" clId="{18BFCD08-9838-4C62-912A-E59CEE905FD1}" dt="2024-12-17T08:21:33.120" v="3589"/>
          <ac:spMkLst>
            <pc:docMk/>
            <pc:sldMk cId="939497345" sldId="300"/>
            <ac:spMk id="408" creationId="{69109268-4134-6DD4-ECD4-40E6EB96B64E}"/>
          </ac:spMkLst>
        </pc:spChg>
        <pc:graphicFrameChg chg="mod">
          <ac:chgData name="Oğuz Öztekin" userId="33c0df0f-d5fe-4bda-8f43-141ad7af67e3" providerId="ADAL" clId="{18BFCD08-9838-4C62-912A-E59CEE905FD1}" dt="2024-12-17T08:35:09.064" v="27013"/>
          <ac:graphicFrameMkLst>
            <pc:docMk/>
            <pc:sldMk cId="939497345" sldId="300"/>
            <ac:graphicFrameMk id="3" creationId="{D7D8DAFE-9F03-363C-E435-2B8D5F12CF41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1:31.856" v="3423"/>
          <ac:graphicFrameMkLst>
            <pc:docMk/>
            <pc:sldMk cId="939497345" sldId="300"/>
            <ac:graphicFrameMk id="9" creationId="{2C2B6C0E-5C1F-2323-A769-8A4E4E56E723}"/>
          </ac:graphicFrameMkLst>
        </pc:graphicFrameChg>
        <pc:graphicFrameChg chg="add del mod ord">
          <ac:chgData name="Oğuz Öztekin" userId="33c0df0f-d5fe-4bda-8f43-141ad7af67e3" providerId="ADAL" clId="{18BFCD08-9838-4C62-912A-E59CEE905FD1}" dt="2024-12-17T08:21:33.071" v="3549"/>
          <ac:graphicFrameMkLst>
            <pc:docMk/>
            <pc:sldMk cId="939497345" sldId="300"/>
            <ac:graphicFrameMk id="11" creationId="{0FA80E1E-C35A-F73E-4EF5-232DCF06C6F8}"/>
          </ac:graphicFrameMkLst>
        </pc:graphicFrameChg>
        <pc:graphicFrameChg chg="add mod ord">
          <ac:chgData name="Oğuz Öztekin" userId="33c0df0f-d5fe-4bda-8f43-141ad7af67e3" providerId="ADAL" clId="{18BFCD08-9838-4C62-912A-E59CEE905FD1}" dt="2024-12-17T08:21:33.114" v="3583"/>
          <ac:graphicFrameMkLst>
            <pc:docMk/>
            <pc:sldMk cId="939497345" sldId="300"/>
            <ac:graphicFrameMk id="13" creationId="{71E50E73-6551-0A21-1C5A-289706F96BD7}"/>
          </ac:graphicFrameMkLst>
        </pc:graphicFrameChg>
        <pc:graphicFrameChg chg="del">
          <ac:chgData name="Oğuz Öztekin" userId="33c0df0f-d5fe-4bda-8f43-141ad7af67e3" providerId="ADAL" clId="{18BFCD08-9838-4C62-912A-E59CEE905FD1}" dt="2024-12-17T08:21:31.362" v="3301"/>
          <ac:graphicFrameMkLst>
            <pc:docMk/>
            <pc:sldMk cId="939497345" sldId="300"/>
            <ac:graphicFrameMk id="178" creationId="{5FFA8A2E-2707-4E7D-1F17-4082597F9B48}"/>
          </ac:graphicFrameMkLst>
        </pc:graphicFrameChg>
        <pc:cxnChg chg="mod ord">
          <ac:chgData name="Oğuz Öztekin" userId="33c0df0f-d5fe-4bda-8f43-141ad7af67e3" providerId="ADAL" clId="{18BFCD08-9838-4C62-912A-E59CEE905FD1}" dt="2024-12-17T08:35:09.056" v="26981" actId="16931"/>
          <ac:cxnSpMkLst>
            <pc:docMk/>
            <pc:sldMk cId="939497345" sldId="300"/>
            <ac:cxnSpMk id="31" creationId="{90EE5BB2-ACA8-46E4-2BC0-F54A32E0463E}"/>
          </ac:cxnSpMkLst>
        </pc:cxnChg>
        <pc:cxnChg chg="mod ord">
          <ac:chgData name="Oğuz Öztekin" userId="33c0df0f-d5fe-4bda-8f43-141ad7af67e3" providerId="ADAL" clId="{18BFCD08-9838-4C62-912A-E59CEE905FD1}" dt="2024-12-17T08:35:09.064" v="27007" actId="16931"/>
          <ac:cxnSpMkLst>
            <pc:docMk/>
            <pc:sldMk cId="939497345" sldId="300"/>
            <ac:cxnSpMk id="256" creationId="{7DC18410-B0D4-1FEB-A4C8-787A85D1F509}"/>
          </ac:cxnSpMkLst>
        </pc:cxnChg>
      </pc:sldChg>
      <pc:sldChg chg="modSp mod">
        <pc:chgData name="Oğuz Öztekin" userId="33c0df0f-d5fe-4bda-8f43-141ad7af67e3" providerId="ADAL" clId="{18BFCD08-9838-4C62-912A-E59CEE905FD1}" dt="2024-12-17T08:15:55.528" v="2" actId="1076"/>
        <pc:sldMkLst>
          <pc:docMk/>
          <pc:sldMk cId="2344123864" sldId="301"/>
        </pc:sldMkLst>
        <pc:spChg chg="mod">
          <ac:chgData name="Oğuz Öztekin" userId="33c0df0f-d5fe-4bda-8f43-141ad7af67e3" providerId="ADAL" clId="{18BFCD08-9838-4C62-912A-E59CEE905FD1}" dt="2024-12-17T08:15:55.528" v="2" actId="1076"/>
          <ac:spMkLst>
            <pc:docMk/>
            <pc:sldMk cId="2344123864" sldId="301"/>
            <ac:spMk id="4" creationId="{3EE73A1C-AD2C-BAA6-021F-7381F4342E1D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443204103182985E-3"/>
          <c:y val="5.9366348815749002E-2"/>
          <c:w val="0.92593151304872534"/>
          <c:h val="0.8812673023685020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10.62938449028657</c:v>
                </c:pt>
                <c:pt idx="1">
                  <c:v>10.865259472035353</c:v>
                </c:pt>
                <c:pt idx="2">
                  <c:v>11.38297554857858</c:v>
                </c:pt>
                <c:pt idx="3">
                  <c:v>11.350473466774428</c:v>
                </c:pt>
                <c:pt idx="4">
                  <c:v>11.342112166559888</c:v>
                </c:pt>
                <c:pt idx="5">
                  <c:v>10.532700689475215</c:v>
                </c:pt>
                <c:pt idx="6">
                  <c:v>10.650636292433814</c:v>
                </c:pt>
                <c:pt idx="7">
                  <c:v>11.034738707419706</c:v>
                </c:pt>
                <c:pt idx="8">
                  <c:v>10.188727500324788</c:v>
                </c:pt>
                <c:pt idx="9">
                  <c:v>10.3134197169237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CD-4CB2-9EF7-4964B26E63F6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8"/>
              <c:layout>
                <c:manualLayout>
                  <c:x val="0"/>
                  <c:y val="-1.23039064903106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6CD-4CB2-9EF7-4964B26E63F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J$2</c:f>
              <c:numCache>
                <c:formatCode>General</c:formatCode>
                <c:ptCount val="10"/>
                <c:pt idx="0">
                  <c:v>89.370615509713431</c:v>
                </c:pt>
                <c:pt idx="1">
                  <c:v>89.134740527964667</c:v>
                </c:pt>
                <c:pt idx="2">
                  <c:v>88.617024451421415</c:v>
                </c:pt>
                <c:pt idx="3">
                  <c:v>88.649526533225597</c:v>
                </c:pt>
                <c:pt idx="4">
                  <c:v>88.657887833440114</c:v>
                </c:pt>
                <c:pt idx="5">
                  <c:v>89.46729931052478</c:v>
                </c:pt>
                <c:pt idx="6">
                  <c:v>89.349363707566184</c:v>
                </c:pt>
                <c:pt idx="7">
                  <c:v>88.965261292580294</c:v>
                </c:pt>
                <c:pt idx="8">
                  <c:v>89.811272499675212</c:v>
                </c:pt>
                <c:pt idx="9">
                  <c:v>89.6865802830762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CD-4CB2-9EF7-4964B26E63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58522152"/>
        <c:axId val="1"/>
      </c:barChart>
      <c:catAx>
        <c:axId val="7585221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758522152"/>
        <c:crosses val="max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340514246004169E-3"/>
          <c:y val="3.1511254019292605E-2"/>
          <c:w val="0.94475330090340515"/>
          <c:h val="0.9369774919614147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0.10162041694856939</c:v>
                </c:pt>
                <c:pt idx="1">
                  <c:v>0.1885216466109805</c:v>
                </c:pt>
                <c:pt idx="2">
                  <c:v>0.1117243924030419</c:v>
                </c:pt>
                <c:pt idx="3">
                  <c:v>0.12819329239438859</c:v>
                </c:pt>
                <c:pt idx="4">
                  <c:v>0.24409281017934559</c:v>
                </c:pt>
                <c:pt idx="5">
                  <c:v>0.100296545585657</c:v>
                </c:pt>
                <c:pt idx="6">
                  <c:v>0.1031503030897383</c:v>
                </c:pt>
                <c:pt idx="7">
                  <c:v>0.69411129462441568</c:v>
                </c:pt>
                <c:pt idx="8">
                  <c:v>6.4997968858814356E-2</c:v>
                </c:pt>
                <c:pt idx="9">
                  <c:v>4.97707651183698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33-455C-941B-90B7A84DCD83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8.6457356926647613</c:v>
                </c:pt>
                <c:pt idx="1">
                  <c:v>9.0143677840267866</c:v>
                </c:pt>
                <c:pt idx="2">
                  <c:v>8.7343067096664466</c:v>
                </c:pt>
                <c:pt idx="3">
                  <c:v>8.8827118142334385</c:v>
                </c:pt>
                <c:pt idx="4">
                  <c:v>9.0417840365844846</c:v>
                </c:pt>
                <c:pt idx="5">
                  <c:v>9.0835942616077112</c:v>
                </c:pt>
                <c:pt idx="6">
                  <c:v>10.278958228809341</c:v>
                </c:pt>
                <c:pt idx="7">
                  <c:v>11.0921209741391</c:v>
                </c:pt>
                <c:pt idx="8">
                  <c:v>11.564116537549889</c:v>
                </c:pt>
                <c:pt idx="9">
                  <c:v>11.5629376382615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B33-455C-941B-90B7A84DCD83}"/>
            </c:ext>
          </c:extLst>
        </c:ser>
        <c:ser>
          <c:idx val="2"/>
          <c:order val="2"/>
          <c:spPr>
            <a:solidFill>
              <a:schemeClr val="accent6"/>
            </a:solidFill>
            <a:ln>
              <a:noFill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5.9372788550504652E-3</c:v>
                </c:pt>
                <c:pt idx="1">
                  <c:v>7.4714650239702252E-3</c:v>
                </c:pt>
                <c:pt idx="2">
                  <c:v>6.5435780870544136E-3</c:v>
                </c:pt>
                <c:pt idx="3">
                  <c:v>7.5700751393519283E-3</c:v>
                </c:pt>
                <c:pt idx="4">
                  <c:v>1.22090936505721E-2</c:v>
                </c:pt>
                <c:pt idx="5">
                  <c:v>9.1561244539200004E-3</c:v>
                </c:pt>
                <c:pt idx="6">
                  <c:v>1.1143073729593667E-2</c:v>
                </c:pt>
                <c:pt idx="7">
                  <c:v>1.2533673621954122E-2</c:v>
                </c:pt>
                <c:pt idx="8">
                  <c:v>1.3193130136128772E-2</c:v>
                </c:pt>
                <c:pt idx="9">
                  <c:v>1.734659946696837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33-455C-941B-90B7A84DCD83}"/>
            </c:ext>
          </c:extLst>
        </c:ser>
        <c:ser>
          <c:idx val="3"/>
          <c:order val="3"/>
          <c:spPr>
            <a:solidFill>
              <a:schemeClr val="accent5"/>
            </a:solidFill>
            <a:ln>
              <a:noFill/>
            </a:ln>
          </c:spPr>
          <c:val>
            <c:numRef>
              <c:f>Sheet1!$A$4:$J$4</c:f>
              <c:numCache>
                <c:formatCode>General</c:formatCode>
                <c:ptCount val="10"/>
                <c:pt idx="0">
                  <c:v>2.7203453973291047E-2</c:v>
                </c:pt>
                <c:pt idx="1">
                  <c:v>2.0894696415085789E-2</c:v>
                </c:pt>
                <c:pt idx="2">
                  <c:v>1.9128340231386431E-2</c:v>
                </c:pt>
                <c:pt idx="3">
                  <c:v>1.8418321872150756E-2</c:v>
                </c:pt>
                <c:pt idx="4">
                  <c:v>2.34647718048695E-2</c:v>
                </c:pt>
                <c:pt idx="5">
                  <c:v>2.086869159943916E-2</c:v>
                </c:pt>
                <c:pt idx="6">
                  <c:v>2.352067210519948E-2</c:v>
                </c:pt>
                <c:pt idx="7">
                  <c:v>2.221992945226603E-2</c:v>
                </c:pt>
                <c:pt idx="8">
                  <c:v>2.4217110948342224E-2</c:v>
                </c:pt>
                <c:pt idx="9">
                  <c:v>2.744411455933004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B33-455C-941B-90B7A84DCD83}"/>
            </c:ext>
          </c:extLst>
        </c:ser>
        <c:ser>
          <c:idx val="4"/>
          <c:order val="4"/>
          <c:spPr>
            <a:solidFill>
              <a:schemeClr val="accent4"/>
            </a:solidFill>
            <a:ln>
              <a:noFill/>
            </a:ln>
          </c:spPr>
          <c:val>
            <c:numRef>
              <c:f>Sheet1!$A$5:$J$5</c:f>
              <c:numCache>
                <c:formatCode>General</c:formatCode>
                <c:ptCount val="10"/>
                <c:pt idx="0">
                  <c:v>7.1646582837672668E-2</c:v>
                </c:pt>
                <c:pt idx="1">
                  <c:v>7.9499894328899146E-2</c:v>
                </c:pt>
                <c:pt idx="2">
                  <c:v>9.0176246288647732E-2</c:v>
                </c:pt>
                <c:pt idx="3">
                  <c:v>9.5630650481098201E-2</c:v>
                </c:pt>
                <c:pt idx="4">
                  <c:v>0.10474294810331664</c:v>
                </c:pt>
                <c:pt idx="5">
                  <c:v>0.12486303889957995</c:v>
                </c:pt>
                <c:pt idx="6">
                  <c:v>0.13291063951088411</c:v>
                </c:pt>
                <c:pt idx="7">
                  <c:v>0.12839357871446566</c:v>
                </c:pt>
                <c:pt idx="8">
                  <c:v>0.17619861541658821</c:v>
                </c:pt>
                <c:pt idx="9">
                  <c:v>0.168250416242846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B33-455C-941B-90B7A84DCD83}"/>
            </c:ext>
          </c:extLst>
        </c:ser>
        <c:ser>
          <c:idx val="5"/>
          <c:order val="5"/>
          <c:spPr>
            <a:solidFill>
              <a:schemeClr val="accent3"/>
            </a:solidFill>
            <a:ln>
              <a:noFill/>
            </a:ln>
          </c:spPr>
          <c:val>
            <c:numRef>
              <c:f>Sheet1!$A$6:$J$6</c:f>
              <c:numCache>
                <c:formatCode>General</c:formatCode>
                <c:ptCount val="10"/>
                <c:pt idx="0">
                  <c:v>1.8280618915887388</c:v>
                </c:pt>
                <c:pt idx="1">
                  <c:v>2.068225592028389</c:v>
                </c:pt>
                <c:pt idx="2">
                  <c:v>2.0872738172770244</c:v>
                </c:pt>
                <c:pt idx="3">
                  <c:v>2.197057356392726</c:v>
                </c:pt>
                <c:pt idx="4">
                  <c:v>2.3367573522673339</c:v>
                </c:pt>
                <c:pt idx="5">
                  <c:v>2.494492518442156</c:v>
                </c:pt>
                <c:pt idx="6">
                  <c:v>2.7548530962109261</c:v>
                </c:pt>
                <c:pt idx="7">
                  <c:v>2.8206959491426407</c:v>
                </c:pt>
                <c:pt idx="8">
                  <c:v>2.6091248706612724</c:v>
                </c:pt>
                <c:pt idx="9">
                  <c:v>2.7596909030323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B33-455C-941B-90B7A84DCD83}"/>
            </c:ext>
          </c:extLst>
        </c:ser>
        <c:ser>
          <c:idx val="6"/>
          <c:order val="6"/>
          <c:spPr>
            <a:solidFill>
              <a:schemeClr val="accent2"/>
            </a:solidFill>
            <a:ln>
              <a:noFill/>
            </a:ln>
          </c:spPr>
          <c:val>
            <c:numRef>
              <c:f>Sheet1!$A$7:$J$7</c:f>
              <c:numCache>
                <c:formatCode>General</c:formatCode>
                <c:ptCount val="10"/>
                <c:pt idx="0">
                  <c:v>6.8497777409059317</c:v>
                </c:pt>
                <c:pt idx="1">
                  <c:v>7.2797479339672329</c:v>
                </c:pt>
                <c:pt idx="2">
                  <c:v>7.0496183724899666</c:v>
                </c:pt>
                <c:pt idx="3">
                  <c:v>6.6586431762136442</c:v>
                </c:pt>
                <c:pt idx="4">
                  <c:v>6.8343668218604918</c:v>
                </c:pt>
                <c:pt idx="5">
                  <c:v>6.8780235825765441</c:v>
                </c:pt>
                <c:pt idx="6">
                  <c:v>6.5173266376265211</c:v>
                </c:pt>
                <c:pt idx="7">
                  <c:v>6.2681016547364177</c:v>
                </c:pt>
                <c:pt idx="8">
                  <c:v>7.7513006375702531</c:v>
                </c:pt>
                <c:pt idx="9">
                  <c:v>7.0752899637583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B33-455C-941B-90B7A84DCD83}"/>
            </c:ext>
          </c:extLst>
        </c:ser>
        <c:ser>
          <c:idx val="7"/>
          <c:order val="7"/>
          <c:spPr>
            <a:solidFill>
              <a:schemeClr val="accent1"/>
            </a:solidFill>
            <a:ln>
              <a:noFill/>
            </a:ln>
          </c:spPr>
          <c:val>
            <c:numRef>
              <c:f>Sheet1!$A$8:$J$8</c:f>
              <c:numCache>
                <c:formatCode>General</c:formatCode>
                <c:ptCount val="10"/>
                <c:pt idx="0">
                  <c:v>20.308955871127399</c:v>
                </c:pt>
                <c:pt idx="1">
                  <c:v>19.485873722316761</c:v>
                </c:pt>
                <c:pt idx="2">
                  <c:v>20.015702932866905</c:v>
                </c:pt>
                <c:pt idx="3">
                  <c:v>21.275977895199897</c:v>
                </c:pt>
                <c:pt idx="4">
                  <c:v>21.412570730807349</c:v>
                </c:pt>
                <c:pt idx="5">
                  <c:v>21.104147240437563</c:v>
                </c:pt>
                <c:pt idx="6">
                  <c:v>20.90491210100679</c:v>
                </c:pt>
                <c:pt idx="7">
                  <c:v>20.862692439588386</c:v>
                </c:pt>
                <c:pt idx="8">
                  <c:v>21.176518396738636</c:v>
                </c:pt>
                <c:pt idx="9">
                  <c:v>19.130427164403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B33-455C-941B-90B7A84DCD83}"/>
            </c:ext>
          </c:extLst>
        </c:ser>
        <c:ser>
          <c:idx val="8"/>
          <c:order val="8"/>
          <c:spPr>
            <a:solidFill>
              <a:schemeClr val="accent6"/>
            </a:solidFill>
            <a:ln>
              <a:noFill/>
            </a:ln>
          </c:spPr>
          <c:val>
            <c:numRef>
              <c:f>Sheet1!$A$9:$J$9</c:f>
              <c:numCache>
                <c:formatCode>General</c:formatCode>
                <c:ptCount val="10"/>
                <c:pt idx="0">
                  <c:v>30.200765297645546</c:v>
                </c:pt>
                <c:pt idx="1">
                  <c:v>29.727583700868593</c:v>
                </c:pt>
                <c:pt idx="2">
                  <c:v>30.399402002450159</c:v>
                </c:pt>
                <c:pt idx="3">
                  <c:v>30.000978355108799</c:v>
                </c:pt>
                <c:pt idx="4">
                  <c:v>29.727500838457949</c:v>
                </c:pt>
                <c:pt idx="5">
                  <c:v>28.665472552383775</c:v>
                </c:pt>
                <c:pt idx="6">
                  <c:v>28.021693266284835</c:v>
                </c:pt>
                <c:pt idx="7">
                  <c:v>27.903170518292697</c:v>
                </c:pt>
                <c:pt idx="8">
                  <c:v>26.605240250459573</c:v>
                </c:pt>
                <c:pt idx="9">
                  <c:v>27.017541834477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B33-455C-941B-90B7A84DCD83}"/>
            </c:ext>
          </c:extLst>
        </c:ser>
        <c:ser>
          <c:idx val="9"/>
          <c:order val="9"/>
          <c:spPr>
            <a:solidFill>
              <a:schemeClr val="accent5"/>
            </a:solidFill>
            <a:ln>
              <a:noFill/>
            </a:ln>
          </c:spPr>
          <c:val>
            <c:numRef>
              <c:f>Sheet1!$A$10:$J$10</c:f>
              <c:numCache>
                <c:formatCode>General</c:formatCode>
                <c:ptCount val="10"/>
                <c:pt idx="0">
                  <c:v>4.7539670063996766</c:v>
                </c:pt>
                <c:pt idx="1">
                  <c:v>4.7479068677833851</c:v>
                </c:pt>
                <c:pt idx="2">
                  <c:v>4.6350282057300376</c:v>
                </c:pt>
                <c:pt idx="3">
                  <c:v>4.2078292502934573</c:v>
                </c:pt>
                <c:pt idx="4">
                  <c:v>4.2875054729338018</c:v>
                </c:pt>
                <c:pt idx="5">
                  <c:v>4.6653040152698395</c:v>
                </c:pt>
                <c:pt idx="6">
                  <c:v>4.4667979805215765</c:v>
                </c:pt>
                <c:pt idx="7">
                  <c:v>4.2514241031756939</c:v>
                </c:pt>
                <c:pt idx="8">
                  <c:v>4.4214157422698861</c:v>
                </c:pt>
                <c:pt idx="9">
                  <c:v>5.01405388649975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B33-455C-941B-90B7A84DCD83}"/>
            </c:ext>
          </c:extLst>
        </c:ser>
        <c:ser>
          <c:idx val="10"/>
          <c:order val="10"/>
          <c:spPr>
            <a:solidFill>
              <a:schemeClr val="accent4"/>
            </a:solidFill>
            <a:ln>
              <a:noFill/>
            </a:ln>
          </c:spPr>
          <c:val>
            <c:numRef>
              <c:f>Sheet1!$A$11:$J$11</c:f>
              <c:numCache>
                <c:formatCode>General</c:formatCode>
                <c:ptCount val="10"/>
                <c:pt idx="0">
                  <c:v>1.082579392755548</c:v>
                </c:pt>
                <c:pt idx="1">
                  <c:v>1.0507865390427895</c:v>
                </c:pt>
                <c:pt idx="2">
                  <c:v>1.0021327937422626</c:v>
                </c:pt>
                <c:pt idx="3">
                  <c:v>0.99320340151763276</c:v>
                </c:pt>
                <c:pt idx="4">
                  <c:v>0.96349776379726393</c:v>
                </c:pt>
                <c:pt idx="5">
                  <c:v>0.9995221677450985</c:v>
                </c:pt>
                <c:pt idx="6">
                  <c:v>0.93839699485037897</c:v>
                </c:pt>
                <c:pt idx="7">
                  <c:v>0.88226256767629252</c:v>
                </c:pt>
                <c:pt idx="8">
                  <c:v>0.80868452284931891</c:v>
                </c:pt>
                <c:pt idx="9">
                  <c:v>0.800168043968639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B33-455C-941B-90B7A84DCD83}"/>
            </c:ext>
          </c:extLst>
        </c:ser>
        <c:ser>
          <c:idx val="11"/>
          <c:order val="11"/>
          <c:spPr>
            <a:solidFill>
              <a:schemeClr val="accent3"/>
            </a:solidFill>
            <a:ln>
              <a:noFill/>
            </a:ln>
          </c:spPr>
          <c:val>
            <c:numRef>
              <c:f>Sheet1!$A$12:$J$12</c:f>
              <c:numCache>
                <c:formatCode>General</c:formatCode>
                <c:ptCount val="10"/>
                <c:pt idx="0">
                  <c:v>1.6898855351087008</c:v>
                </c:pt>
                <c:pt idx="1">
                  <c:v>1.7179984882198909</c:v>
                </c:pt>
                <c:pt idx="2">
                  <c:v>1.558449199195806</c:v>
                </c:pt>
                <c:pt idx="3">
                  <c:v>1.4270533899377682</c:v>
                </c:pt>
                <c:pt idx="4">
                  <c:v>1.318781625288139</c:v>
                </c:pt>
                <c:pt idx="5">
                  <c:v>1.3561759065949559</c:v>
                </c:pt>
                <c:pt idx="6">
                  <c:v>1.2576991191472615</c:v>
                </c:pt>
                <c:pt idx="7">
                  <c:v>1.2071875614151395</c:v>
                </c:pt>
                <c:pt idx="8">
                  <c:v>1.1586015964677472</c:v>
                </c:pt>
                <c:pt idx="9">
                  <c:v>1.11283305829795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B33-455C-941B-90B7A84DCD83}"/>
            </c:ext>
          </c:extLst>
        </c:ser>
        <c:ser>
          <c:idx val="12"/>
          <c:order val="12"/>
          <c:spPr>
            <a:solidFill>
              <a:schemeClr val="accent2"/>
            </a:solidFill>
            <a:ln>
              <a:noFill/>
            </a:ln>
          </c:spPr>
          <c:val>
            <c:numRef>
              <c:f>Sheet1!$A$13:$J$13</c:f>
              <c:numCache>
                <c:formatCode>General</c:formatCode>
                <c:ptCount val="10"/>
                <c:pt idx="0">
                  <c:v>6.749099279453759</c:v>
                </c:pt>
                <c:pt idx="1">
                  <c:v>6.6445089775940289</c:v>
                </c:pt>
                <c:pt idx="2">
                  <c:v>6.701903484015034</c:v>
                </c:pt>
                <c:pt idx="3">
                  <c:v>6.1883372085239188</c:v>
                </c:pt>
                <c:pt idx="4">
                  <c:v>5.9603902399623507</c:v>
                </c:pt>
                <c:pt idx="5">
                  <c:v>6.8160154273395079</c:v>
                </c:pt>
                <c:pt idx="6">
                  <c:v>6.6535682408356962</c:v>
                </c:pt>
                <c:pt idx="7">
                  <c:v>7.2467492567872114</c:v>
                </c:pt>
                <c:pt idx="8">
                  <c:v>7.8767680695230524</c:v>
                </c:pt>
                <c:pt idx="9">
                  <c:v>7.72279569770438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B33-455C-941B-90B7A84DCD83}"/>
            </c:ext>
          </c:extLst>
        </c:ser>
        <c:ser>
          <c:idx val="13"/>
          <c:order val="13"/>
          <c:spPr>
            <a:solidFill>
              <a:schemeClr val="accent1"/>
            </a:solidFill>
            <a:ln>
              <a:noFill/>
            </a:ln>
          </c:spPr>
          <c:val>
            <c:numRef>
              <c:f>Sheet1!$A$14:$J$14</c:f>
              <c:numCache>
                <c:formatCode>General</c:formatCode>
                <c:ptCount val="10"/>
                <c:pt idx="0">
                  <c:v>1.5469239717397301</c:v>
                </c:pt>
                <c:pt idx="1">
                  <c:v>1.5392661831902217</c:v>
                </c:pt>
                <c:pt idx="2">
                  <c:v>1.6494158779289023</c:v>
                </c:pt>
                <c:pt idx="3">
                  <c:v>1.7898249671071653</c:v>
                </c:pt>
                <c:pt idx="4">
                  <c:v>1.9603031623608018</c:v>
                </c:pt>
                <c:pt idx="5">
                  <c:v>2.0894243532634391</c:v>
                </c:pt>
                <c:pt idx="6">
                  <c:v>2.4003385387566283</c:v>
                </c:pt>
                <c:pt idx="7">
                  <c:v>2.3647890061162684</c:v>
                </c:pt>
                <c:pt idx="8">
                  <c:v>2.9426207678633745</c:v>
                </c:pt>
                <c:pt idx="9">
                  <c:v>2.6572133291295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DB33-455C-941B-90B7A84DCD83}"/>
            </c:ext>
          </c:extLst>
        </c:ser>
        <c:ser>
          <c:idx val="14"/>
          <c:order val="14"/>
          <c:spPr>
            <a:solidFill>
              <a:schemeClr val="accent6"/>
            </a:solidFill>
            <a:ln>
              <a:noFill/>
            </a:ln>
          </c:spPr>
          <c:val>
            <c:numRef>
              <c:f>Sheet1!$A$15:$J$15</c:f>
              <c:numCache>
                <c:formatCode>General</c:formatCode>
                <c:ptCount val="10"/>
                <c:pt idx="0">
                  <c:v>4.2726258371706791</c:v>
                </c:pt>
                <c:pt idx="1">
                  <c:v>4.4123831434295795</c:v>
                </c:pt>
                <c:pt idx="2">
                  <c:v>4.2701503123732891</c:v>
                </c:pt>
                <c:pt idx="3">
                  <c:v>4.46283741855909</c:v>
                </c:pt>
                <c:pt idx="4">
                  <c:v>4.4155732573152164</c:v>
                </c:pt>
                <c:pt idx="5">
                  <c:v>4.2368791010058402</c:v>
                </c:pt>
                <c:pt idx="6">
                  <c:v>4.327008567005322</c:v>
                </c:pt>
                <c:pt idx="7">
                  <c:v>4.099045666978256</c:v>
                </c:pt>
                <c:pt idx="8">
                  <c:v>3.5931730407738485</c:v>
                </c:pt>
                <c:pt idx="9">
                  <c:v>4.26396260007058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DB33-455C-941B-90B7A84DCD83}"/>
            </c:ext>
          </c:extLst>
        </c:ser>
        <c:ser>
          <c:idx val="15"/>
          <c:order val="15"/>
          <c:spPr>
            <a:solidFill>
              <a:schemeClr val="accent5"/>
            </a:solidFill>
            <a:ln>
              <a:noFill/>
            </a:ln>
          </c:spPr>
          <c:val>
            <c:numRef>
              <c:f>Sheet1!$A$16:$J$16</c:f>
              <c:numCache>
                <c:formatCode>General</c:formatCode>
                <c:ptCount val="10"/>
                <c:pt idx="0">
                  <c:v>4.9213591183257392</c:v>
                </c:pt>
                <c:pt idx="1">
                  <c:v>5.0320401961932646</c:v>
                </c:pt>
                <c:pt idx="2">
                  <c:v>4.9842872222688328</c:v>
                </c:pt>
                <c:pt idx="3">
                  <c:v>4.9542419450506969</c:v>
                </c:pt>
                <c:pt idx="4">
                  <c:v>4.8206066901774562</c:v>
                </c:pt>
                <c:pt idx="5">
                  <c:v>4.9486718755293992</c:v>
                </c:pt>
                <c:pt idx="6">
                  <c:v>4.7133698901950964</c:v>
                </c:pt>
                <c:pt idx="7">
                  <c:v>4.4343608202733833</c:v>
                </c:pt>
                <c:pt idx="8">
                  <c:v>4.1369935543913527</c:v>
                </c:pt>
                <c:pt idx="9">
                  <c:v>4.635877064520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DB33-455C-941B-90B7A84DCD83}"/>
            </c:ext>
          </c:extLst>
        </c:ser>
        <c:ser>
          <c:idx val="16"/>
          <c:order val="16"/>
          <c:spPr>
            <a:solidFill>
              <a:schemeClr val="accent4"/>
            </a:solidFill>
            <a:ln>
              <a:noFill/>
            </a:ln>
          </c:spPr>
          <c:val>
            <c:numRef>
              <c:f>Sheet1!$A$17:$J$17</c:f>
              <c:numCache>
                <c:formatCode>General</c:formatCode>
                <c:ptCount val="10"/>
                <c:pt idx="0">
                  <c:v>8.5306864721658826E-2</c:v>
                </c:pt>
                <c:pt idx="1">
                  <c:v>9.3952125009721499E-2</c:v>
                </c:pt>
                <c:pt idx="2">
                  <c:v>8.725955774752947E-2</c:v>
                </c:pt>
                <c:pt idx="3">
                  <c:v>9.0228471152300926E-2</c:v>
                </c:pt>
                <c:pt idx="4">
                  <c:v>0.10001318118766278</c:v>
                </c:pt>
                <c:pt idx="5">
                  <c:v>0.10386971542622803</c:v>
                </c:pt>
                <c:pt idx="6">
                  <c:v>0.125783278218492</c:v>
                </c:pt>
                <c:pt idx="7">
                  <c:v>0.15142346796825734</c:v>
                </c:pt>
                <c:pt idx="8">
                  <c:v>0.14451432560890964</c:v>
                </c:pt>
                <c:pt idx="9">
                  <c:v>0.160162854843960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DB33-455C-941B-90B7A84DCD83}"/>
            </c:ext>
          </c:extLst>
        </c:ser>
        <c:ser>
          <c:idx val="17"/>
          <c:order val="17"/>
          <c:spPr>
            <a:solidFill>
              <a:schemeClr val="accent3"/>
            </a:solidFill>
            <a:ln>
              <a:noFill/>
            </a:ln>
          </c:spPr>
          <c:val>
            <c:numRef>
              <c:f>Sheet1!$A$18:$J$18</c:f>
              <c:numCache>
                <c:formatCode>General</c:formatCode>
                <c:ptCount val="10"/>
                <c:pt idx="0">
                  <c:v>6.1866730893202373</c:v>
                </c:pt>
                <c:pt idx="1">
                  <c:v>6.2419188769044212</c:v>
                </c:pt>
                <c:pt idx="2">
                  <c:v>5.9850527068818025</c:v>
                </c:pt>
                <c:pt idx="3">
                  <c:v>6.0702855263529898</c:v>
                </c:pt>
                <c:pt idx="4">
                  <c:v>5.9968979549059043</c:v>
                </c:pt>
                <c:pt idx="5">
                  <c:v>5.8105432637696737</c:v>
                </c:pt>
                <c:pt idx="6">
                  <c:v>5.8726639041755817</c:v>
                </c:pt>
                <c:pt idx="7">
                  <c:v>5.2189839325628213</c:v>
                </c:pt>
                <c:pt idx="8">
                  <c:v>4.6379065107793167</c:v>
                </c:pt>
                <c:pt idx="9">
                  <c:v>5.58092257186484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DB33-455C-941B-90B7A84DCD83}"/>
            </c:ext>
          </c:extLst>
        </c:ser>
        <c:ser>
          <c:idx val="18"/>
          <c:order val="18"/>
          <c:spPr>
            <a:solidFill>
              <a:schemeClr val="accent2"/>
            </a:solidFill>
            <a:ln>
              <a:noFill/>
            </a:ln>
          </c:spPr>
          <c:val>
            <c:numRef>
              <c:f>Sheet1!$A$19:$J$19</c:f>
              <c:numCache>
                <c:formatCode>General</c:formatCode>
                <c:ptCount val="10"/>
                <c:pt idx="0">
                  <c:v>0.65772844976078204</c:v>
                </c:pt>
                <c:pt idx="1">
                  <c:v>0.63444290187320007</c:v>
                </c:pt>
                <c:pt idx="2">
                  <c:v>0.59698487063380412</c:v>
                </c:pt>
                <c:pt idx="3">
                  <c:v>0.53257963811063291</c:v>
                </c:pt>
                <c:pt idx="4">
                  <c:v>0.42474293819265085</c:v>
                </c:pt>
                <c:pt idx="5">
                  <c:v>0.47134399780628655</c:v>
                </c:pt>
                <c:pt idx="6">
                  <c:v>0.47289774322122469</c:v>
                </c:pt>
                <c:pt idx="7">
                  <c:v>0.29976564761996372</c:v>
                </c:pt>
                <c:pt idx="8">
                  <c:v>0.23587776945514349</c:v>
                </c:pt>
                <c:pt idx="9">
                  <c:v>0.226291194862227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DB33-455C-941B-90B7A84DCD83}"/>
            </c:ext>
          </c:extLst>
        </c:ser>
        <c:ser>
          <c:idx val="19"/>
          <c:order val="19"/>
          <c:spPr>
            <a:solidFill>
              <a:schemeClr val="accent1"/>
            </a:solidFill>
            <a:ln>
              <a:noFill/>
            </a:ln>
          </c:spPr>
          <c:val>
            <c:numRef>
              <c:f>Sheet1!$A$20:$J$20</c:f>
              <c:numCache>
                <c:formatCode>General</c:formatCode>
                <c:ptCount val="10"/>
                <c:pt idx="0">
                  <c:v>1.4147228696529623E-2</c:v>
                </c:pt>
                <c:pt idx="1">
                  <c:v>1.260926517278449E-2</c:v>
                </c:pt>
                <c:pt idx="2">
                  <c:v>1.545937772210948E-2</c:v>
                </c:pt>
                <c:pt idx="3">
                  <c:v>1.8397846358851666E-2</c:v>
                </c:pt>
                <c:pt idx="4">
                  <c:v>1.4198310163067163E-2</c:v>
                </c:pt>
                <c:pt idx="5">
                  <c:v>2.1335620263400301E-2</c:v>
                </c:pt>
                <c:pt idx="6">
                  <c:v>2.3007724698942411E-2</c:v>
                </c:pt>
                <c:pt idx="7">
                  <c:v>3.9967957114342312E-2</c:v>
                </c:pt>
                <c:pt idx="8">
                  <c:v>5.853658167856679E-2</c:v>
                </c:pt>
                <c:pt idx="9">
                  <c:v>1.702029891694678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DB33-455C-941B-90B7A84DCD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99218560"/>
        <c:axId val="1"/>
      </c:areaChart>
      <c:catAx>
        <c:axId val="6992185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699218560"/>
        <c:crosses val="max"/>
        <c:crossBetween val="midCat"/>
        <c:majorUnit val="5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882775781034009E-3"/>
          <c:y val="6.5293602103418058E-2"/>
          <c:w val="0.98562344484379316"/>
          <c:h val="0.8694127957931638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 w="19050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FED-4C14-BAAE-6273184054B8}"/>
                </c:ext>
              </c:extLst>
            </c:dLbl>
            <c:dLbl>
              <c:idx val="1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FED-4C14-BAAE-6273184054B8}"/>
                </c:ext>
              </c:extLst>
            </c:dLbl>
            <c:dLbl>
              <c:idx val="2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FED-4C14-BAAE-6273184054B8}"/>
                </c:ext>
              </c:extLst>
            </c:dLbl>
            <c:dLbl>
              <c:idx val="3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FED-4C14-BAAE-6273184054B8}"/>
                </c:ext>
              </c:extLst>
            </c:dLbl>
            <c:dLbl>
              <c:idx val="4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FED-4C14-BAAE-6273184054B8}"/>
                </c:ext>
              </c:extLst>
            </c:dLbl>
            <c:dLbl>
              <c:idx val="5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FED-4C14-BAAE-6273184054B8}"/>
                </c:ext>
              </c:extLst>
            </c:dLbl>
            <c:dLbl>
              <c:idx val="6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FED-4C14-BAAE-6273184054B8}"/>
                </c:ext>
              </c:extLst>
            </c:dLbl>
            <c:dLbl>
              <c:idx val="7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FED-4C14-BAAE-6273184054B8}"/>
                </c:ext>
              </c:extLst>
            </c:dLbl>
            <c:dLbl>
              <c:idx val="8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FED-4C14-BAAE-6273184054B8}"/>
                </c:ext>
              </c:extLst>
            </c:dLbl>
            <c:dLbl>
              <c:idx val="9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FED-4C14-BAAE-6273184054B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30.200765297645553</c:v>
                </c:pt>
                <c:pt idx="1">
                  <c:v>29.727583700868585</c:v>
                </c:pt>
                <c:pt idx="2">
                  <c:v>30.399402002450156</c:v>
                </c:pt>
                <c:pt idx="3">
                  <c:v>30.000978355108799</c:v>
                </c:pt>
                <c:pt idx="4">
                  <c:v>29.727500838457949</c:v>
                </c:pt>
                <c:pt idx="5">
                  <c:v>28.665472552383768</c:v>
                </c:pt>
                <c:pt idx="6">
                  <c:v>28.021693266284835</c:v>
                </c:pt>
                <c:pt idx="7">
                  <c:v>27.903170518292704</c:v>
                </c:pt>
                <c:pt idx="8">
                  <c:v>26.605240250459566</c:v>
                </c:pt>
                <c:pt idx="9">
                  <c:v>27.0175418344772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FED-4C14-BAAE-6273184054B8}"/>
            </c:ext>
          </c:extLst>
        </c:ser>
        <c:ser>
          <c:idx val="1"/>
          <c:order val="1"/>
          <c:spPr>
            <a:solidFill>
              <a:schemeClr val="accent3"/>
            </a:solidFill>
            <a:ln w="19050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FED-4C14-BAAE-6273184054B8}"/>
                </c:ext>
              </c:extLst>
            </c:dLbl>
            <c:dLbl>
              <c:idx val="1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FED-4C14-BAAE-6273184054B8}"/>
                </c:ext>
              </c:extLst>
            </c:dLbl>
            <c:dLbl>
              <c:idx val="2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8FED-4C14-BAAE-6273184054B8}"/>
                </c:ext>
              </c:extLst>
            </c:dLbl>
            <c:dLbl>
              <c:idx val="3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8FED-4C14-BAAE-6273184054B8}"/>
                </c:ext>
              </c:extLst>
            </c:dLbl>
            <c:dLbl>
              <c:idx val="4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8FED-4C14-BAAE-6273184054B8}"/>
                </c:ext>
              </c:extLst>
            </c:dLbl>
            <c:dLbl>
              <c:idx val="5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8FED-4C14-BAAE-6273184054B8}"/>
                </c:ext>
              </c:extLst>
            </c:dLbl>
            <c:dLbl>
              <c:idx val="6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8FED-4C14-BAAE-6273184054B8}"/>
                </c:ext>
              </c:extLst>
            </c:dLbl>
            <c:dLbl>
              <c:idx val="7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8FED-4C14-BAAE-6273184054B8}"/>
                </c:ext>
              </c:extLst>
            </c:dLbl>
            <c:dLbl>
              <c:idx val="8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8FED-4C14-BAAE-6273184054B8}"/>
                </c:ext>
              </c:extLst>
            </c:dLbl>
            <c:dLbl>
              <c:idx val="9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8FED-4C14-BAAE-6273184054B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J$2</c:f>
              <c:numCache>
                <c:formatCode>General</c:formatCode>
                <c:ptCount val="10"/>
                <c:pt idx="0">
                  <c:v>20.308955871127406</c:v>
                </c:pt>
                <c:pt idx="1">
                  <c:v>19.485873722316761</c:v>
                </c:pt>
                <c:pt idx="2">
                  <c:v>20.015702932866891</c:v>
                </c:pt>
                <c:pt idx="3">
                  <c:v>21.275977895199905</c:v>
                </c:pt>
                <c:pt idx="4">
                  <c:v>21.412570730807349</c:v>
                </c:pt>
                <c:pt idx="5">
                  <c:v>21.104147240437559</c:v>
                </c:pt>
                <c:pt idx="6">
                  <c:v>20.904912101006783</c:v>
                </c:pt>
                <c:pt idx="7">
                  <c:v>20.862692439588386</c:v>
                </c:pt>
                <c:pt idx="8">
                  <c:v>21.176518396738636</c:v>
                </c:pt>
                <c:pt idx="9">
                  <c:v>19.130427164403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8FED-4C14-BAAE-6273184054B8}"/>
            </c:ext>
          </c:extLst>
        </c:ser>
        <c:ser>
          <c:idx val="2"/>
          <c:order val="2"/>
          <c:spPr>
            <a:solidFill>
              <a:schemeClr val="accent2"/>
            </a:solidFill>
            <a:ln w="19050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8FED-4C14-BAAE-6273184054B8}"/>
                </c:ext>
              </c:extLst>
            </c:dLbl>
            <c:dLbl>
              <c:idx val="1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8FED-4C14-BAAE-6273184054B8}"/>
                </c:ext>
              </c:extLst>
            </c:dLbl>
            <c:dLbl>
              <c:idx val="2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8FED-4C14-BAAE-6273184054B8}"/>
                </c:ext>
              </c:extLst>
            </c:dLbl>
            <c:dLbl>
              <c:idx val="3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8FED-4C14-BAAE-6273184054B8}"/>
                </c:ext>
              </c:extLst>
            </c:dLbl>
            <c:dLbl>
              <c:idx val="4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8FED-4C14-BAAE-6273184054B8}"/>
                </c:ext>
              </c:extLst>
            </c:dLbl>
            <c:dLbl>
              <c:idx val="5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8FED-4C14-BAAE-6273184054B8}"/>
                </c:ext>
              </c:extLst>
            </c:dLbl>
            <c:dLbl>
              <c:idx val="6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8FED-4C14-BAAE-6273184054B8}"/>
                </c:ext>
              </c:extLst>
            </c:dLbl>
            <c:dLbl>
              <c:idx val="7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8FED-4C14-BAAE-6273184054B8}"/>
                </c:ext>
              </c:extLst>
            </c:dLbl>
            <c:dLbl>
              <c:idx val="8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8FED-4C14-BAAE-6273184054B8}"/>
                </c:ext>
              </c:extLst>
            </c:dLbl>
            <c:dLbl>
              <c:idx val="9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8FED-4C14-BAAE-6273184054B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J$3</c:f>
              <c:numCache>
                <c:formatCode>General</c:formatCode>
                <c:ptCount val="10"/>
                <c:pt idx="0">
                  <c:v>8.6457356926647684</c:v>
                </c:pt>
                <c:pt idx="1">
                  <c:v>9.0143677840267884</c:v>
                </c:pt>
                <c:pt idx="2">
                  <c:v>8.7343067096664395</c:v>
                </c:pt>
                <c:pt idx="3">
                  <c:v>8.8827118142334349</c:v>
                </c:pt>
                <c:pt idx="4">
                  <c:v>9.0417840365844881</c:v>
                </c:pt>
                <c:pt idx="5">
                  <c:v>9.0835942616077077</c:v>
                </c:pt>
                <c:pt idx="6">
                  <c:v>10.278958228809342</c:v>
                </c:pt>
                <c:pt idx="7">
                  <c:v>11.092120974139096</c:v>
                </c:pt>
                <c:pt idx="8">
                  <c:v>11.564116537549884</c:v>
                </c:pt>
                <c:pt idx="9">
                  <c:v>11.5629376382615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8FED-4C14-BAAE-6273184054B8}"/>
            </c:ext>
          </c:extLst>
        </c:ser>
        <c:ser>
          <c:idx val="3"/>
          <c:order val="3"/>
          <c:spPr>
            <a:solidFill>
              <a:schemeClr val="accent1"/>
            </a:solidFill>
            <a:ln w="19050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8FED-4C14-BAAE-6273184054B8}"/>
                </c:ext>
              </c:extLst>
            </c:dLbl>
            <c:dLbl>
              <c:idx val="1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8FED-4C14-BAAE-6273184054B8}"/>
                </c:ext>
              </c:extLst>
            </c:dLbl>
            <c:dLbl>
              <c:idx val="2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8FED-4C14-BAAE-6273184054B8}"/>
                </c:ext>
              </c:extLst>
            </c:dLbl>
            <c:dLbl>
              <c:idx val="3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8FED-4C14-BAAE-6273184054B8}"/>
                </c:ext>
              </c:extLst>
            </c:dLbl>
            <c:dLbl>
              <c:idx val="4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8FED-4C14-BAAE-6273184054B8}"/>
                </c:ext>
              </c:extLst>
            </c:dLbl>
            <c:dLbl>
              <c:idx val="5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6-8FED-4C14-BAAE-6273184054B8}"/>
                </c:ext>
              </c:extLst>
            </c:dLbl>
            <c:dLbl>
              <c:idx val="6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8FED-4C14-BAAE-6273184054B8}"/>
                </c:ext>
              </c:extLst>
            </c:dLbl>
            <c:dLbl>
              <c:idx val="7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8FED-4C14-BAAE-6273184054B8}"/>
                </c:ext>
              </c:extLst>
            </c:dLbl>
            <c:dLbl>
              <c:idx val="8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8FED-4C14-BAAE-6273184054B8}"/>
                </c:ext>
              </c:extLst>
            </c:dLbl>
            <c:dLbl>
              <c:idx val="9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8FED-4C14-BAAE-6273184054B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J$4</c:f>
              <c:numCache>
                <c:formatCode>General</c:formatCode>
                <c:ptCount val="10"/>
                <c:pt idx="0">
                  <c:v>6.8497777409059379</c:v>
                </c:pt>
                <c:pt idx="1">
                  <c:v>7.2797479339672293</c:v>
                </c:pt>
                <c:pt idx="2">
                  <c:v>7.049618372489963</c:v>
                </c:pt>
                <c:pt idx="3">
                  <c:v>6.6586431762136407</c:v>
                </c:pt>
                <c:pt idx="4">
                  <c:v>6.8343668218604936</c:v>
                </c:pt>
                <c:pt idx="5">
                  <c:v>6.8780235825765423</c:v>
                </c:pt>
                <c:pt idx="6">
                  <c:v>6.5173266376265193</c:v>
                </c:pt>
                <c:pt idx="7">
                  <c:v>6.2681016547364132</c:v>
                </c:pt>
                <c:pt idx="8">
                  <c:v>7.7513006375702576</c:v>
                </c:pt>
                <c:pt idx="9">
                  <c:v>7.07528996375833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B-8FED-4C14-BAAE-6273184054B8}"/>
            </c:ext>
          </c:extLst>
        </c:ser>
        <c:ser>
          <c:idx val="4"/>
          <c:order val="4"/>
          <c:spPr>
            <a:solidFill>
              <a:schemeClr val="accent6"/>
            </a:solidFill>
            <a:ln w="19050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C-8FED-4C14-BAAE-6273184054B8}"/>
                </c:ext>
              </c:extLst>
            </c:dLbl>
            <c:dLbl>
              <c:idx val="1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D-8FED-4C14-BAAE-6273184054B8}"/>
                </c:ext>
              </c:extLst>
            </c:dLbl>
            <c:dLbl>
              <c:idx val="2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E-8FED-4C14-BAAE-6273184054B8}"/>
                </c:ext>
              </c:extLst>
            </c:dLbl>
            <c:dLbl>
              <c:idx val="3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F-8FED-4C14-BAAE-6273184054B8}"/>
                </c:ext>
              </c:extLst>
            </c:dLbl>
            <c:dLbl>
              <c:idx val="4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0-8FED-4C14-BAAE-6273184054B8}"/>
                </c:ext>
              </c:extLst>
            </c:dLbl>
            <c:dLbl>
              <c:idx val="5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1-8FED-4C14-BAAE-6273184054B8}"/>
                </c:ext>
              </c:extLst>
            </c:dLbl>
            <c:dLbl>
              <c:idx val="6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2-8FED-4C14-BAAE-6273184054B8}"/>
                </c:ext>
              </c:extLst>
            </c:dLbl>
            <c:dLbl>
              <c:idx val="7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3-8FED-4C14-BAAE-6273184054B8}"/>
                </c:ext>
              </c:extLst>
            </c:dLbl>
            <c:dLbl>
              <c:idx val="8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4-8FED-4C14-BAAE-6273184054B8}"/>
                </c:ext>
              </c:extLst>
            </c:dLbl>
            <c:dLbl>
              <c:idx val="9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5-8FED-4C14-BAAE-6273184054B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J$5</c:f>
              <c:numCache>
                <c:formatCode>General</c:formatCode>
                <c:ptCount val="10"/>
                <c:pt idx="0">
                  <c:v>6.7490992794537519</c:v>
                </c:pt>
                <c:pt idx="1">
                  <c:v>6.6445089775940325</c:v>
                </c:pt>
                <c:pt idx="2">
                  <c:v>6.701903484015026</c:v>
                </c:pt>
                <c:pt idx="3">
                  <c:v>6.1883372085239081</c:v>
                </c:pt>
                <c:pt idx="4">
                  <c:v>5.9603902399623436</c:v>
                </c:pt>
                <c:pt idx="5">
                  <c:v>6.8160154273395062</c:v>
                </c:pt>
                <c:pt idx="6">
                  <c:v>6.6535682408356944</c:v>
                </c:pt>
                <c:pt idx="7">
                  <c:v>7.2467492567872105</c:v>
                </c:pt>
                <c:pt idx="8">
                  <c:v>7.8767680695230435</c:v>
                </c:pt>
                <c:pt idx="9">
                  <c:v>7.72279569770438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6-8FED-4C14-BAAE-6273184054B8}"/>
            </c:ext>
          </c:extLst>
        </c:ser>
        <c:ser>
          <c:idx val="5"/>
          <c:order val="5"/>
          <c:spPr>
            <a:solidFill>
              <a:schemeClr val="accent5"/>
            </a:solidFill>
            <a:ln w="19050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7-8FED-4C14-BAAE-6273184054B8}"/>
                </c:ext>
              </c:extLst>
            </c:dLbl>
            <c:dLbl>
              <c:idx val="1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8-8FED-4C14-BAAE-6273184054B8}"/>
                </c:ext>
              </c:extLst>
            </c:dLbl>
            <c:dLbl>
              <c:idx val="2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9-8FED-4C14-BAAE-6273184054B8}"/>
                </c:ext>
              </c:extLst>
            </c:dLbl>
            <c:dLbl>
              <c:idx val="3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A-8FED-4C14-BAAE-6273184054B8}"/>
                </c:ext>
              </c:extLst>
            </c:dLbl>
            <c:dLbl>
              <c:idx val="4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B-8FED-4C14-BAAE-6273184054B8}"/>
                </c:ext>
              </c:extLst>
            </c:dLbl>
            <c:dLbl>
              <c:idx val="5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C-8FED-4C14-BAAE-6273184054B8}"/>
                </c:ext>
              </c:extLst>
            </c:dLbl>
            <c:dLbl>
              <c:idx val="6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D-8FED-4C14-BAAE-6273184054B8}"/>
                </c:ext>
              </c:extLst>
            </c:dLbl>
            <c:dLbl>
              <c:idx val="7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E-8FED-4C14-BAAE-6273184054B8}"/>
                </c:ext>
              </c:extLst>
            </c:dLbl>
            <c:dLbl>
              <c:idx val="8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F-8FED-4C14-BAAE-6273184054B8}"/>
                </c:ext>
              </c:extLst>
            </c:dLbl>
            <c:dLbl>
              <c:idx val="9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0-8FED-4C14-BAAE-6273184054B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J$6</c:f>
              <c:numCache>
                <c:formatCode>General</c:formatCode>
                <c:ptCount val="10"/>
                <c:pt idx="0">
                  <c:v>6.1866730893202382</c:v>
                </c:pt>
                <c:pt idx="1">
                  <c:v>6.2419188769044176</c:v>
                </c:pt>
                <c:pt idx="2">
                  <c:v>5.9850527068817989</c:v>
                </c:pt>
                <c:pt idx="3">
                  <c:v>6.0702855263529916</c:v>
                </c:pt>
                <c:pt idx="4">
                  <c:v>5.9968979549059114</c:v>
                </c:pt>
                <c:pt idx="5">
                  <c:v>5.8105432637696737</c:v>
                </c:pt>
                <c:pt idx="6">
                  <c:v>5.872663904175579</c:v>
                </c:pt>
                <c:pt idx="7">
                  <c:v>5.2189839325628267</c:v>
                </c:pt>
                <c:pt idx="8">
                  <c:v>4.6379065107793105</c:v>
                </c:pt>
                <c:pt idx="9">
                  <c:v>5.58092257186484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1-8FED-4C14-BAAE-6273184054B8}"/>
            </c:ext>
          </c:extLst>
        </c:ser>
        <c:ser>
          <c:idx val="6"/>
          <c:order val="6"/>
          <c:spPr>
            <a:solidFill>
              <a:schemeClr val="accent4"/>
            </a:solidFill>
            <a:ln w="19050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2-8FED-4C14-BAAE-6273184054B8}"/>
                </c:ext>
              </c:extLst>
            </c:dLbl>
            <c:dLbl>
              <c:idx val="1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3-8FED-4C14-BAAE-6273184054B8}"/>
                </c:ext>
              </c:extLst>
            </c:dLbl>
            <c:dLbl>
              <c:idx val="2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4-8FED-4C14-BAAE-6273184054B8}"/>
                </c:ext>
              </c:extLst>
            </c:dLbl>
            <c:dLbl>
              <c:idx val="3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5-8FED-4C14-BAAE-6273184054B8}"/>
                </c:ext>
              </c:extLst>
            </c:dLbl>
            <c:dLbl>
              <c:idx val="4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6-8FED-4C14-BAAE-6273184054B8}"/>
                </c:ext>
              </c:extLst>
            </c:dLbl>
            <c:dLbl>
              <c:idx val="5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7-8FED-4C14-BAAE-6273184054B8}"/>
                </c:ext>
              </c:extLst>
            </c:dLbl>
            <c:dLbl>
              <c:idx val="6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8-8FED-4C14-BAAE-6273184054B8}"/>
                </c:ext>
              </c:extLst>
            </c:dLbl>
            <c:dLbl>
              <c:idx val="7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9-8FED-4C14-BAAE-6273184054B8}"/>
                </c:ext>
              </c:extLst>
            </c:dLbl>
            <c:dLbl>
              <c:idx val="8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A-8FED-4C14-BAAE-6273184054B8}"/>
                </c:ext>
              </c:extLst>
            </c:dLbl>
            <c:dLbl>
              <c:idx val="9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B-8FED-4C14-BAAE-6273184054B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J$7</c:f>
              <c:numCache>
                <c:formatCode>General</c:formatCode>
                <c:ptCount val="10"/>
                <c:pt idx="0">
                  <c:v>4.921359118325741</c:v>
                </c:pt>
                <c:pt idx="1">
                  <c:v>5.0320401961932664</c:v>
                </c:pt>
                <c:pt idx="2">
                  <c:v>4.9842872222688346</c:v>
                </c:pt>
                <c:pt idx="3">
                  <c:v>4.9542419450507076</c:v>
                </c:pt>
                <c:pt idx="4">
                  <c:v>4.8206066901774536</c:v>
                </c:pt>
                <c:pt idx="5">
                  <c:v>4.9486718755293975</c:v>
                </c:pt>
                <c:pt idx="6">
                  <c:v>4.7133698901950964</c:v>
                </c:pt>
                <c:pt idx="7">
                  <c:v>4.4343608202733868</c:v>
                </c:pt>
                <c:pt idx="8">
                  <c:v>4.1369935543913545</c:v>
                </c:pt>
                <c:pt idx="9">
                  <c:v>4.63587706452016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C-8FED-4C14-BAAE-6273184054B8}"/>
            </c:ext>
          </c:extLst>
        </c:ser>
        <c:ser>
          <c:idx val="7"/>
          <c:order val="7"/>
          <c:spPr>
            <a:solidFill>
              <a:schemeClr val="accent3"/>
            </a:solidFill>
            <a:ln w="19050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D-8FED-4C14-BAAE-6273184054B8}"/>
                </c:ext>
              </c:extLst>
            </c:dLbl>
            <c:dLbl>
              <c:idx val="1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E-8FED-4C14-BAAE-6273184054B8}"/>
                </c:ext>
              </c:extLst>
            </c:dLbl>
            <c:dLbl>
              <c:idx val="2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F-8FED-4C14-BAAE-6273184054B8}"/>
                </c:ext>
              </c:extLst>
            </c:dLbl>
            <c:dLbl>
              <c:idx val="3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0-8FED-4C14-BAAE-6273184054B8}"/>
                </c:ext>
              </c:extLst>
            </c:dLbl>
            <c:dLbl>
              <c:idx val="4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1-8FED-4C14-BAAE-6273184054B8}"/>
                </c:ext>
              </c:extLst>
            </c:dLbl>
            <c:dLbl>
              <c:idx val="5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2-8FED-4C14-BAAE-6273184054B8}"/>
                </c:ext>
              </c:extLst>
            </c:dLbl>
            <c:dLbl>
              <c:idx val="6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3-8FED-4C14-BAAE-6273184054B8}"/>
                </c:ext>
              </c:extLst>
            </c:dLbl>
            <c:dLbl>
              <c:idx val="7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4-8FED-4C14-BAAE-6273184054B8}"/>
                </c:ext>
              </c:extLst>
            </c:dLbl>
            <c:dLbl>
              <c:idx val="8"/>
              <c:layout>
                <c:manualLayout>
                  <c:x val="-1.3685374619850706E-2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5-8FED-4C14-BAAE-6273184054B8}"/>
                </c:ext>
              </c:extLst>
            </c:dLbl>
            <c:dLbl>
              <c:idx val="9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6-8FED-4C14-BAAE-6273184054B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:$J$8</c:f>
              <c:numCache>
                <c:formatCode>General</c:formatCode>
                <c:ptCount val="10"/>
                <c:pt idx="0">
                  <c:v>4.7539670063996731</c:v>
                </c:pt>
                <c:pt idx="1">
                  <c:v>4.7479068677833913</c:v>
                </c:pt>
                <c:pt idx="2">
                  <c:v>4.6350282057300296</c:v>
                </c:pt>
                <c:pt idx="3">
                  <c:v>4.20782925029346</c:v>
                </c:pt>
                <c:pt idx="4">
                  <c:v>4.2875054729337947</c:v>
                </c:pt>
                <c:pt idx="5">
                  <c:v>4.6653040152698448</c:v>
                </c:pt>
                <c:pt idx="6">
                  <c:v>4.4667979805215747</c:v>
                </c:pt>
                <c:pt idx="7">
                  <c:v>4.2514241031756939</c:v>
                </c:pt>
                <c:pt idx="8">
                  <c:v>4.4214157422698852</c:v>
                </c:pt>
                <c:pt idx="9">
                  <c:v>5.014053886499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57-8FED-4C14-BAAE-6273184054B8}"/>
            </c:ext>
          </c:extLst>
        </c:ser>
        <c:ser>
          <c:idx val="8"/>
          <c:order val="8"/>
          <c:spPr>
            <a:solidFill>
              <a:schemeClr val="accent2"/>
            </a:solidFill>
            <a:ln w="19050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8-8FED-4C14-BAAE-6273184054B8}"/>
                </c:ext>
              </c:extLst>
            </c:dLbl>
            <c:dLbl>
              <c:idx val="1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9-8FED-4C14-BAAE-6273184054B8}"/>
                </c:ext>
              </c:extLst>
            </c:dLbl>
            <c:dLbl>
              <c:idx val="2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A-8FED-4C14-BAAE-6273184054B8}"/>
                </c:ext>
              </c:extLst>
            </c:dLbl>
            <c:dLbl>
              <c:idx val="3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B-8FED-4C14-BAAE-6273184054B8}"/>
                </c:ext>
              </c:extLst>
            </c:dLbl>
            <c:dLbl>
              <c:idx val="4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C-8FED-4C14-BAAE-6273184054B8}"/>
                </c:ext>
              </c:extLst>
            </c:dLbl>
            <c:dLbl>
              <c:idx val="5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D-8FED-4C14-BAAE-6273184054B8}"/>
                </c:ext>
              </c:extLst>
            </c:dLbl>
            <c:dLbl>
              <c:idx val="6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E-8FED-4C14-BAAE-6273184054B8}"/>
                </c:ext>
              </c:extLst>
            </c:dLbl>
            <c:dLbl>
              <c:idx val="7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5F-8FED-4C14-BAAE-6273184054B8}"/>
                </c:ext>
              </c:extLst>
            </c:dLbl>
            <c:dLbl>
              <c:idx val="9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60-8FED-4C14-BAAE-6273184054B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9:$J$9</c:f>
              <c:numCache>
                <c:formatCode>General</c:formatCode>
                <c:ptCount val="10"/>
                <c:pt idx="0">
                  <c:v>4.2726258371706844</c:v>
                </c:pt>
                <c:pt idx="1">
                  <c:v>4.4123831434295768</c:v>
                </c:pt>
                <c:pt idx="2">
                  <c:v>4.2701503123732891</c:v>
                </c:pt>
                <c:pt idx="3">
                  <c:v>4.4628374185590847</c:v>
                </c:pt>
                <c:pt idx="4">
                  <c:v>4.4155732573152084</c:v>
                </c:pt>
                <c:pt idx="5">
                  <c:v>4.236879101005842</c:v>
                </c:pt>
                <c:pt idx="6">
                  <c:v>4.3270085670053193</c:v>
                </c:pt>
                <c:pt idx="7">
                  <c:v>4.0990456669782631</c:v>
                </c:pt>
                <c:pt idx="8">
                  <c:v>3.5931730407738449</c:v>
                </c:pt>
                <c:pt idx="9">
                  <c:v>4.2639626000705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61-8FED-4C14-BAAE-6273184054B8}"/>
            </c:ext>
          </c:extLst>
        </c:ser>
        <c:ser>
          <c:idx val="9"/>
          <c:order val="9"/>
          <c:spPr>
            <a:solidFill>
              <a:schemeClr val="accent1"/>
            </a:solidFill>
            <a:ln w="19050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62-8FED-4C14-BAAE-6273184054B8}"/>
                </c:ext>
              </c:extLst>
            </c:dLbl>
            <c:dLbl>
              <c:idx val="1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63-8FED-4C14-BAAE-6273184054B8}"/>
                </c:ext>
              </c:extLst>
            </c:dLbl>
            <c:dLbl>
              <c:idx val="2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64-8FED-4C14-BAAE-6273184054B8}"/>
                </c:ext>
              </c:extLst>
            </c:dLbl>
            <c:dLbl>
              <c:idx val="3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65-8FED-4C14-BAAE-6273184054B8}"/>
                </c:ext>
              </c:extLst>
            </c:dLbl>
            <c:dLbl>
              <c:idx val="4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66-8FED-4C14-BAAE-6273184054B8}"/>
                </c:ext>
              </c:extLst>
            </c:dLbl>
            <c:dLbl>
              <c:idx val="5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67-8FED-4C14-BAAE-6273184054B8}"/>
                </c:ext>
              </c:extLst>
            </c:dLbl>
            <c:dLbl>
              <c:idx val="6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68-8FED-4C14-BAAE-6273184054B8}"/>
                </c:ext>
              </c:extLst>
            </c:dLbl>
            <c:dLbl>
              <c:idx val="7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69-8FED-4C14-BAAE-6273184054B8}"/>
                </c:ext>
              </c:extLst>
            </c:dLbl>
            <c:dLbl>
              <c:idx val="8"/>
              <c:layout>
                <c:manualLayout>
                  <c:x val="0"/>
                  <c:y val="-1.752848378615249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6A-8FED-4C14-BAAE-6273184054B8}"/>
                </c:ext>
              </c:extLst>
            </c:dLbl>
            <c:dLbl>
              <c:idx val="9"/>
              <c:layout>
                <c:manualLayout>
                  <c:x val="0"/>
                  <c:y val="-1.314636283961437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bg1"/>
                      </a:solidFill>
                      <a:latin typeface="Proxima Nova"/>
                      <a:ea typeface="Proxima Nova"/>
                      <a:cs typeface="Proxima Nova"/>
                      <a:sym typeface="Proxima Nova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6B-8FED-4C14-BAAE-6273184054B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0:$J$10</c:f>
              <c:numCache>
                <c:formatCode>General</c:formatCode>
                <c:ptCount val="10"/>
                <c:pt idx="0">
                  <c:v>7.1110410669862674</c:v>
                </c:pt>
                <c:pt idx="1">
                  <c:v>7.4136687969159514</c:v>
                </c:pt>
                <c:pt idx="2">
                  <c:v>7.2245480512575515</c:v>
                </c:pt>
                <c:pt idx="3">
                  <c:v>7.2981574104640679</c:v>
                </c:pt>
                <c:pt idx="4">
                  <c:v>7.5028039569950078</c:v>
                </c:pt>
                <c:pt idx="5">
                  <c:v>7.7913486800801568</c:v>
                </c:pt>
                <c:pt idx="6">
                  <c:v>8.2437011835392546</c:v>
                </c:pt>
                <c:pt idx="7">
                  <c:v>8.6233506334660088</c:v>
                </c:pt>
                <c:pt idx="8">
                  <c:v>8.236567259944195</c:v>
                </c:pt>
                <c:pt idx="9">
                  <c:v>7.9961915784391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6C-8FED-4C14-BAAE-627318405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76331088"/>
        <c:axId val="1"/>
      </c:barChart>
      <c:catAx>
        <c:axId val="11763310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r"/>
        <c:numFmt formatCode="General" sourceLinked="1"/>
        <c:majorTickMark val="out"/>
        <c:minorTickMark val="none"/>
        <c:tickLblPos val="nextTo"/>
        <c:crossAx val="1176331088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340514246004169E-3"/>
          <c:y val="3.1511254019292605E-2"/>
          <c:w val="0.94475330090340515"/>
          <c:h val="0.9369774919614147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0.34807330707470219</c:v>
                </c:pt>
                <c:pt idx="1">
                  <c:v>0.38104266860841107</c:v>
                </c:pt>
                <c:pt idx="2">
                  <c:v>0.35307646768155221</c:v>
                </c:pt>
                <c:pt idx="3">
                  <c:v>0.2766546824511299</c:v>
                </c:pt>
                <c:pt idx="4">
                  <c:v>0.32995639359024431</c:v>
                </c:pt>
                <c:pt idx="5">
                  <c:v>0.37039695065496092</c:v>
                </c:pt>
                <c:pt idx="6">
                  <c:v>0.2143140553276375</c:v>
                </c:pt>
                <c:pt idx="7">
                  <c:v>0.13178637775803259</c:v>
                </c:pt>
                <c:pt idx="8">
                  <c:v>8.6869312834334231E-2</c:v>
                </c:pt>
                <c:pt idx="9">
                  <c:v>0.1141728964250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4B-43BB-B5DA-B98E0D4E80A6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8.5238356896220271</c:v>
                </c:pt>
                <c:pt idx="1">
                  <c:v>9.3727300196330461</c:v>
                </c:pt>
                <c:pt idx="2">
                  <c:v>9.4776675710098495</c:v>
                </c:pt>
                <c:pt idx="3">
                  <c:v>9.6597709055932484</c:v>
                </c:pt>
                <c:pt idx="4">
                  <c:v>7.628960755756216</c:v>
                </c:pt>
                <c:pt idx="5">
                  <c:v>6.9209777059294773</c:v>
                </c:pt>
                <c:pt idx="6">
                  <c:v>6.8898676107638401</c:v>
                </c:pt>
                <c:pt idx="7">
                  <c:v>6.5488347180935049</c:v>
                </c:pt>
                <c:pt idx="8">
                  <c:v>7.7696472077238399</c:v>
                </c:pt>
                <c:pt idx="9">
                  <c:v>6.42221978960258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4B-43BB-B5DA-B98E0D4E80A6}"/>
            </c:ext>
          </c:extLst>
        </c:ser>
        <c:ser>
          <c:idx val="2"/>
          <c:order val="2"/>
          <c:spPr>
            <a:solidFill>
              <a:schemeClr val="accent6"/>
            </a:solidFill>
            <a:ln>
              <a:noFill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0.21033075553893887</c:v>
                </c:pt>
                <c:pt idx="1">
                  <c:v>0.16919759311014815</c:v>
                </c:pt>
                <c:pt idx="2">
                  <c:v>0.25869902772201137</c:v>
                </c:pt>
                <c:pt idx="3">
                  <c:v>0.3027998803944989</c:v>
                </c:pt>
                <c:pt idx="4">
                  <c:v>0.30161163106868116</c:v>
                </c:pt>
                <c:pt idx="5">
                  <c:v>0.22366651615219268</c:v>
                </c:pt>
                <c:pt idx="6">
                  <c:v>0.21535467568374678</c:v>
                </c:pt>
                <c:pt idx="7">
                  <c:v>0.21424210893843032</c:v>
                </c:pt>
                <c:pt idx="8">
                  <c:v>0.19251416514914421</c:v>
                </c:pt>
                <c:pt idx="9">
                  <c:v>0.19188682910171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4B-43BB-B5DA-B98E0D4E80A6}"/>
            </c:ext>
          </c:extLst>
        </c:ser>
        <c:ser>
          <c:idx val="3"/>
          <c:order val="3"/>
          <c:spPr>
            <a:solidFill>
              <a:schemeClr val="accent5"/>
            </a:solidFill>
            <a:ln>
              <a:noFill/>
            </a:ln>
          </c:spPr>
          <c:val>
            <c:numRef>
              <c:f>Sheet1!$A$4:$J$4</c:f>
              <c:numCache>
                <c:formatCode>General</c:formatCode>
                <c:ptCount val="10"/>
                <c:pt idx="0">
                  <c:v>0.22636190431159697</c:v>
                </c:pt>
                <c:pt idx="1">
                  <c:v>0.21730870037939276</c:v>
                </c:pt>
                <c:pt idx="2">
                  <c:v>0.18988339390783082</c:v>
                </c:pt>
                <c:pt idx="3">
                  <c:v>0.26599125594761297</c:v>
                </c:pt>
                <c:pt idx="4">
                  <c:v>0.24553985324156891</c:v>
                </c:pt>
                <c:pt idx="5">
                  <c:v>0.1293551778027453</c:v>
                </c:pt>
                <c:pt idx="6">
                  <c:v>6.9970679048022788E-2</c:v>
                </c:pt>
                <c:pt idx="7">
                  <c:v>8.6582852772716379E-2</c:v>
                </c:pt>
                <c:pt idx="8">
                  <c:v>9.6203408945671143E-2</c:v>
                </c:pt>
                <c:pt idx="9">
                  <c:v>5.770236406645956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4B-43BB-B5DA-B98E0D4E80A6}"/>
            </c:ext>
          </c:extLst>
        </c:ser>
        <c:ser>
          <c:idx val="4"/>
          <c:order val="4"/>
          <c:spPr>
            <a:solidFill>
              <a:schemeClr val="accent4"/>
            </a:solidFill>
            <a:ln>
              <a:noFill/>
            </a:ln>
          </c:spPr>
          <c:val>
            <c:numRef>
              <c:f>Sheet1!$A$5:$J$5</c:f>
              <c:numCache>
                <c:formatCode>General</c:formatCode>
                <c:ptCount val="10"/>
                <c:pt idx="0">
                  <c:v>0.39040770305334682</c:v>
                </c:pt>
                <c:pt idx="1">
                  <c:v>0.39123731113940963</c:v>
                </c:pt>
                <c:pt idx="2">
                  <c:v>0.42907579523476613</c:v>
                </c:pt>
                <c:pt idx="3">
                  <c:v>0.51721122181548829</c:v>
                </c:pt>
                <c:pt idx="4">
                  <c:v>0.52535250145639445</c:v>
                </c:pt>
                <c:pt idx="5">
                  <c:v>0.40182206300763212</c:v>
                </c:pt>
                <c:pt idx="6">
                  <c:v>0.33964488742507459</c:v>
                </c:pt>
                <c:pt idx="7">
                  <c:v>0.23529218276103059</c:v>
                </c:pt>
                <c:pt idx="8">
                  <c:v>0.32048731219038018</c:v>
                </c:pt>
                <c:pt idx="9">
                  <c:v>0.32159751324392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4B-43BB-B5DA-B98E0D4E80A6}"/>
            </c:ext>
          </c:extLst>
        </c:ser>
        <c:ser>
          <c:idx val="5"/>
          <c:order val="5"/>
          <c:spPr>
            <a:solidFill>
              <a:schemeClr val="accent3"/>
            </a:solidFill>
            <a:ln>
              <a:noFill/>
            </a:ln>
          </c:spPr>
          <c:val>
            <c:numRef>
              <c:f>Sheet1!$A$6:$J$6</c:f>
              <c:numCache>
                <c:formatCode>General</c:formatCode>
                <c:ptCount val="10"/>
                <c:pt idx="0">
                  <c:v>6.8563826533058325</c:v>
                </c:pt>
                <c:pt idx="1">
                  <c:v>6.9762435132547083</c:v>
                </c:pt>
                <c:pt idx="2">
                  <c:v>6.5256701765560194</c:v>
                </c:pt>
                <c:pt idx="3">
                  <c:v>6.4124481934427937</c:v>
                </c:pt>
                <c:pt idx="4">
                  <c:v>6.2786283478118659</c:v>
                </c:pt>
                <c:pt idx="5">
                  <c:v>5.4893398749593612</c:v>
                </c:pt>
                <c:pt idx="6">
                  <c:v>5.5335428081861169</c:v>
                </c:pt>
                <c:pt idx="7">
                  <c:v>4.6035973716952148</c:v>
                </c:pt>
                <c:pt idx="8">
                  <c:v>5.0156235749220226</c:v>
                </c:pt>
                <c:pt idx="9">
                  <c:v>4.4436760608071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64B-43BB-B5DA-B98E0D4E80A6}"/>
            </c:ext>
          </c:extLst>
        </c:ser>
        <c:ser>
          <c:idx val="6"/>
          <c:order val="6"/>
          <c:spPr>
            <a:solidFill>
              <a:schemeClr val="accent2"/>
            </a:solidFill>
            <a:ln>
              <a:noFill/>
            </a:ln>
          </c:spPr>
          <c:val>
            <c:numRef>
              <c:f>Sheet1!$A$7:$J$7</c:f>
              <c:numCache>
                <c:formatCode>General</c:formatCode>
                <c:ptCount val="10"/>
                <c:pt idx="0">
                  <c:v>1.4822697772456266</c:v>
                </c:pt>
                <c:pt idx="1">
                  <c:v>1.641599627449331</c:v>
                </c:pt>
                <c:pt idx="2">
                  <c:v>1.7677890885820062</c:v>
                </c:pt>
                <c:pt idx="3">
                  <c:v>2.1301472823103644</c:v>
                </c:pt>
                <c:pt idx="4">
                  <c:v>2.0847698103209673</c:v>
                </c:pt>
                <c:pt idx="5">
                  <c:v>1.9693118875935749</c:v>
                </c:pt>
                <c:pt idx="6">
                  <c:v>1.8160509573342303</c:v>
                </c:pt>
                <c:pt idx="7">
                  <c:v>1.6421841990068327</c:v>
                </c:pt>
                <c:pt idx="8">
                  <c:v>2.1172465912599545</c:v>
                </c:pt>
                <c:pt idx="9">
                  <c:v>1.82732201394816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64B-43BB-B5DA-B98E0D4E80A6}"/>
            </c:ext>
          </c:extLst>
        </c:ser>
        <c:ser>
          <c:idx val="7"/>
          <c:order val="7"/>
          <c:spPr>
            <a:solidFill>
              <a:schemeClr val="accent1"/>
            </a:solidFill>
            <a:ln>
              <a:noFill/>
            </a:ln>
          </c:spPr>
          <c:val>
            <c:numRef>
              <c:f>Sheet1!$A$8:$J$8</c:f>
              <c:numCache>
                <c:formatCode>General</c:formatCode>
                <c:ptCount val="10"/>
                <c:pt idx="0">
                  <c:v>10.808397723664598</c:v>
                </c:pt>
                <c:pt idx="1">
                  <c:v>11.736592716001461</c:v>
                </c:pt>
                <c:pt idx="2">
                  <c:v>11.392785003608068</c:v>
                </c:pt>
                <c:pt idx="3">
                  <c:v>12.86023605618001</c:v>
                </c:pt>
                <c:pt idx="4">
                  <c:v>12.926608697417578</c:v>
                </c:pt>
                <c:pt idx="5">
                  <c:v>10.841177139856908</c:v>
                </c:pt>
                <c:pt idx="6">
                  <c:v>10.624974520522059</c:v>
                </c:pt>
                <c:pt idx="7">
                  <c:v>9.0509962970450406</c:v>
                </c:pt>
                <c:pt idx="8">
                  <c:v>8.2595797668026147</c:v>
                </c:pt>
                <c:pt idx="9">
                  <c:v>7.2275041273323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64B-43BB-B5DA-B98E0D4E80A6}"/>
            </c:ext>
          </c:extLst>
        </c:ser>
        <c:ser>
          <c:idx val="8"/>
          <c:order val="8"/>
          <c:spPr>
            <a:solidFill>
              <a:schemeClr val="accent6"/>
            </a:solidFill>
            <a:ln>
              <a:noFill/>
            </a:ln>
          </c:spPr>
          <c:val>
            <c:numRef>
              <c:f>Sheet1!$A$9:$J$9</c:f>
              <c:numCache>
                <c:formatCode>General</c:formatCode>
                <c:ptCount val="10"/>
                <c:pt idx="0">
                  <c:v>7.0765447567597661</c:v>
                </c:pt>
                <c:pt idx="1">
                  <c:v>6.5566609030999103</c:v>
                </c:pt>
                <c:pt idx="2">
                  <c:v>6.6465609998915411</c:v>
                </c:pt>
                <c:pt idx="3">
                  <c:v>6.875604453300781</c:v>
                </c:pt>
                <c:pt idx="4">
                  <c:v>6.6929349830112059</c:v>
                </c:pt>
                <c:pt idx="5">
                  <c:v>6.2035814065488353</c:v>
                </c:pt>
                <c:pt idx="6">
                  <c:v>6.5605839919019751</c:v>
                </c:pt>
                <c:pt idx="7">
                  <c:v>5.8611998835484549</c:v>
                </c:pt>
                <c:pt idx="8">
                  <c:v>6.1835252443219737</c:v>
                </c:pt>
                <c:pt idx="9">
                  <c:v>6.07983383743083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64B-43BB-B5DA-B98E0D4E80A6}"/>
            </c:ext>
          </c:extLst>
        </c:ser>
        <c:ser>
          <c:idx val="9"/>
          <c:order val="9"/>
          <c:spPr>
            <a:solidFill>
              <a:schemeClr val="accent5"/>
            </a:solidFill>
            <a:ln>
              <a:noFill/>
            </a:ln>
          </c:spPr>
          <c:val>
            <c:numRef>
              <c:f>Sheet1!$A$10:$J$10</c:f>
              <c:numCache>
                <c:formatCode>General</c:formatCode>
                <c:ptCount val="10"/>
                <c:pt idx="0">
                  <c:v>2.507948410390334</c:v>
                </c:pt>
                <c:pt idx="1">
                  <c:v>2.8326556630625888</c:v>
                </c:pt>
                <c:pt idx="2">
                  <c:v>2.9458204108930346</c:v>
                </c:pt>
                <c:pt idx="3">
                  <c:v>2.9817188221682258</c:v>
                </c:pt>
                <c:pt idx="4">
                  <c:v>2.9660642168186229</c:v>
                </c:pt>
                <c:pt idx="5">
                  <c:v>3.3418156358023268</c:v>
                </c:pt>
                <c:pt idx="6">
                  <c:v>3.1978724980270883</c:v>
                </c:pt>
                <c:pt idx="7">
                  <c:v>3.3651510468894195</c:v>
                </c:pt>
                <c:pt idx="8">
                  <c:v>3.2380282088202925</c:v>
                </c:pt>
                <c:pt idx="9">
                  <c:v>3.29245892021577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64B-43BB-B5DA-B98E0D4E80A6}"/>
            </c:ext>
          </c:extLst>
        </c:ser>
        <c:ser>
          <c:idx val="10"/>
          <c:order val="10"/>
          <c:spPr>
            <a:solidFill>
              <a:schemeClr val="accent4"/>
            </a:solidFill>
            <a:ln>
              <a:noFill/>
            </a:ln>
          </c:spPr>
          <c:val>
            <c:numRef>
              <c:f>Sheet1!$A$11:$J$11</c:f>
              <c:numCache>
                <c:formatCode>General</c:formatCode>
                <c:ptCount val="10"/>
                <c:pt idx="0">
                  <c:v>2.5741421221038934</c:v>
                </c:pt>
                <c:pt idx="1">
                  <c:v>2.6020655207159322</c:v>
                </c:pt>
                <c:pt idx="2">
                  <c:v>2.6975845638990563</c:v>
                </c:pt>
                <c:pt idx="3">
                  <c:v>2.6724060609028868</c:v>
                </c:pt>
                <c:pt idx="4">
                  <c:v>2.9960106010301288</c:v>
                </c:pt>
                <c:pt idx="5">
                  <c:v>2.9719588953758631</c:v>
                </c:pt>
                <c:pt idx="6">
                  <c:v>3.270048473654434</c:v>
                </c:pt>
                <c:pt idx="7">
                  <c:v>3.3012016248592033</c:v>
                </c:pt>
                <c:pt idx="8">
                  <c:v>3.4633276141476017</c:v>
                </c:pt>
                <c:pt idx="9">
                  <c:v>3.3264549906127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64B-43BB-B5DA-B98E0D4E80A6}"/>
            </c:ext>
          </c:extLst>
        </c:ser>
        <c:ser>
          <c:idx val="11"/>
          <c:order val="11"/>
          <c:spPr>
            <a:solidFill>
              <a:schemeClr val="accent3"/>
            </a:solidFill>
            <a:ln>
              <a:noFill/>
            </a:ln>
          </c:spPr>
          <c:val>
            <c:numRef>
              <c:f>Sheet1!$A$12:$J$12</c:f>
              <c:numCache>
                <c:formatCode>General</c:formatCode>
                <c:ptCount val="10"/>
                <c:pt idx="0">
                  <c:v>1.349014024158933</c:v>
                </c:pt>
                <c:pt idx="1">
                  <c:v>1.5281951339527851</c:v>
                </c:pt>
                <c:pt idx="2">
                  <c:v>1.8121898139043751</c:v>
                </c:pt>
                <c:pt idx="3">
                  <c:v>1.5590777530556394</c:v>
                </c:pt>
                <c:pt idx="4">
                  <c:v>1.678542318461318</c:v>
                </c:pt>
                <c:pt idx="5">
                  <c:v>1.5175622821719728</c:v>
                </c:pt>
                <c:pt idx="6">
                  <c:v>1.7197869645175459</c:v>
                </c:pt>
                <c:pt idx="7">
                  <c:v>2.0166828075015104</c:v>
                </c:pt>
                <c:pt idx="8">
                  <c:v>1.3342684718596942</c:v>
                </c:pt>
                <c:pt idx="9">
                  <c:v>1.1496949652632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64B-43BB-B5DA-B98E0D4E80A6}"/>
            </c:ext>
          </c:extLst>
        </c:ser>
        <c:ser>
          <c:idx val="12"/>
          <c:order val="12"/>
          <c:spPr>
            <a:solidFill>
              <a:schemeClr val="accent2"/>
            </a:solidFill>
            <a:ln>
              <a:noFill/>
            </a:ln>
          </c:spPr>
          <c:val>
            <c:numRef>
              <c:f>Sheet1!$A$13:$J$13</c:f>
              <c:numCache>
                <c:formatCode>General</c:formatCode>
                <c:ptCount val="10"/>
                <c:pt idx="0">
                  <c:v>1.2759669204968418</c:v>
                </c:pt>
                <c:pt idx="1">
                  <c:v>1.2155657089485459</c:v>
                </c:pt>
                <c:pt idx="2">
                  <c:v>1.0983377985188767</c:v>
                </c:pt>
                <c:pt idx="3">
                  <c:v>0.79689724732769207</c:v>
                </c:pt>
                <c:pt idx="4">
                  <c:v>0.53201766452274057</c:v>
                </c:pt>
                <c:pt idx="5">
                  <c:v>0.45308818475633927</c:v>
                </c:pt>
                <c:pt idx="6">
                  <c:v>0.51345432584938067</c:v>
                </c:pt>
                <c:pt idx="7">
                  <c:v>0.52738356672022491</c:v>
                </c:pt>
                <c:pt idx="8">
                  <c:v>0.5400852314049871</c:v>
                </c:pt>
                <c:pt idx="9">
                  <c:v>0.468635262774242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64B-43BB-B5DA-B98E0D4E80A6}"/>
            </c:ext>
          </c:extLst>
        </c:ser>
        <c:ser>
          <c:idx val="13"/>
          <c:order val="13"/>
          <c:spPr>
            <a:solidFill>
              <a:schemeClr val="accent1"/>
            </a:solidFill>
            <a:ln>
              <a:noFill/>
            </a:ln>
          </c:spPr>
          <c:val>
            <c:numRef>
              <c:f>Sheet1!$A$14:$J$14</c:f>
              <c:numCache>
                <c:formatCode>General</c:formatCode>
                <c:ptCount val="10"/>
                <c:pt idx="0">
                  <c:v>2.4950596198623671</c:v>
                </c:pt>
                <c:pt idx="1">
                  <c:v>2.7020094166781092</c:v>
                </c:pt>
                <c:pt idx="2">
                  <c:v>2.7548030528654621</c:v>
                </c:pt>
                <c:pt idx="3">
                  <c:v>3.0092850183765094</c:v>
                </c:pt>
                <c:pt idx="4">
                  <c:v>2.6140845619252886</c:v>
                </c:pt>
                <c:pt idx="5">
                  <c:v>2.7276903097369427</c:v>
                </c:pt>
                <c:pt idx="6">
                  <c:v>2.8126107425626472</c:v>
                </c:pt>
                <c:pt idx="7">
                  <c:v>2.846980162260536</c:v>
                </c:pt>
                <c:pt idx="8">
                  <c:v>4.0734267787969642</c:v>
                </c:pt>
                <c:pt idx="9">
                  <c:v>2.96395569665084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64B-43BB-B5DA-B98E0D4E80A6}"/>
            </c:ext>
          </c:extLst>
        </c:ser>
        <c:ser>
          <c:idx val="14"/>
          <c:order val="14"/>
          <c:spPr>
            <a:solidFill>
              <a:schemeClr val="accent6"/>
            </a:solidFill>
            <a:ln>
              <a:noFill/>
            </a:ln>
          </c:spPr>
          <c:val>
            <c:numRef>
              <c:f>Sheet1!$A$15:$J$15</c:f>
              <c:numCache>
                <c:formatCode>General</c:formatCode>
                <c:ptCount val="10"/>
                <c:pt idx="0">
                  <c:v>15.731602256653538</c:v>
                </c:pt>
                <c:pt idx="1">
                  <c:v>13.811119848347872</c:v>
                </c:pt>
                <c:pt idx="2">
                  <c:v>13.084939640680247</c:v>
                </c:pt>
                <c:pt idx="3">
                  <c:v>13.522990097641134</c:v>
                </c:pt>
                <c:pt idx="4">
                  <c:v>14.332011721397961</c:v>
                </c:pt>
                <c:pt idx="5">
                  <c:v>14.713131308877479</c:v>
                </c:pt>
                <c:pt idx="6">
                  <c:v>15.167725080830891</c:v>
                </c:pt>
                <c:pt idx="7">
                  <c:v>14.89430188081419</c:v>
                </c:pt>
                <c:pt idx="8">
                  <c:v>12.068089900965688</c:v>
                </c:pt>
                <c:pt idx="9">
                  <c:v>13.4104189413625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B64B-43BB-B5DA-B98E0D4E80A6}"/>
            </c:ext>
          </c:extLst>
        </c:ser>
        <c:ser>
          <c:idx val="15"/>
          <c:order val="15"/>
          <c:spPr>
            <a:solidFill>
              <a:schemeClr val="accent5"/>
            </a:solidFill>
            <a:ln>
              <a:noFill/>
            </a:ln>
          </c:spPr>
          <c:val>
            <c:numRef>
              <c:f>Sheet1!$A$16:$J$16</c:f>
              <c:numCache>
                <c:formatCode>General</c:formatCode>
                <c:ptCount val="10"/>
                <c:pt idx="0">
                  <c:v>16.607797212292297</c:v>
                </c:pt>
                <c:pt idx="1">
                  <c:v>13.823952319708155</c:v>
                </c:pt>
                <c:pt idx="2">
                  <c:v>14.957609407811063</c:v>
                </c:pt>
                <c:pt idx="3">
                  <c:v>14.98765676265819</c:v>
                </c:pt>
                <c:pt idx="4">
                  <c:v>15.977898305100361</c:v>
                </c:pt>
                <c:pt idx="5">
                  <c:v>15.671984608257389</c:v>
                </c:pt>
                <c:pt idx="6">
                  <c:v>16.76797821567601</c:v>
                </c:pt>
                <c:pt idx="7">
                  <c:v>18.536404363669305</c:v>
                </c:pt>
                <c:pt idx="8">
                  <c:v>16.580629175722876</c:v>
                </c:pt>
                <c:pt idx="9">
                  <c:v>16.9312681641515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B64B-43BB-B5DA-B98E0D4E80A6}"/>
            </c:ext>
          </c:extLst>
        </c:ser>
        <c:ser>
          <c:idx val="16"/>
          <c:order val="16"/>
          <c:spPr>
            <a:solidFill>
              <a:schemeClr val="accent4"/>
            </a:solidFill>
            <a:ln>
              <a:noFill/>
            </a:ln>
          </c:spPr>
          <c:val>
            <c:numRef>
              <c:f>Sheet1!$A$17:$J$17</c:f>
              <c:numCache>
                <c:formatCode>General</c:formatCode>
                <c:ptCount val="10"/>
                <c:pt idx="0">
                  <c:v>1.4969788320327808</c:v>
                </c:pt>
                <c:pt idx="1">
                  <c:v>1.6464992621035321</c:v>
                </c:pt>
                <c:pt idx="2">
                  <c:v>1.646803212796371</c:v>
                </c:pt>
                <c:pt idx="3">
                  <c:v>1.7841936675062584</c:v>
                </c:pt>
                <c:pt idx="4">
                  <c:v>1.7389305633440983</c:v>
                </c:pt>
                <c:pt idx="5">
                  <c:v>2.1639333775564467</c:v>
                </c:pt>
                <c:pt idx="6">
                  <c:v>1.974065230873137</c:v>
                </c:pt>
                <c:pt idx="7">
                  <c:v>2.4304366052535613</c:v>
                </c:pt>
                <c:pt idx="8">
                  <c:v>3.1797213208602813</c:v>
                </c:pt>
                <c:pt idx="9">
                  <c:v>2.5244684500729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64B-43BB-B5DA-B98E0D4E80A6}"/>
            </c:ext>
          </c:extLst>
        </c:ser>
        <c:ser>
          <c:idx val="17"/>
          <c:order val="17"/>
          <c:spPr>
            <a:solidFill>
              <a:schemeClr val="accent3"/>
            </a:solidFill>
            <a:ln>
              <a:noFill/>
            </a:ln>
          </c:spPr>
          <c:val>
            <c:numRef>
              <c:f>Sheet1!$A$18:$J$18</c:f>
              <c:numCache>
                <c:formatCode>General</c:formatCode>
                <c:ptCount val="10"/>
                <c:pt idx="0">
                  <c:v>16.623177255274697</c:v>
                </c:pt>
                <c:pt idx="1">
                  <c:v>19.418333653009711</c:v>
                </c:pt>
                <c:pt idx="2">
                  <c:v>19.120791373664389</c:v>
                </c:pt>
                <c:pt idx="3">
                  <c:v>16.558214531567899</c:v>
                </c:pt>
                <c:pt idx="4">
                  <c:v>17.601818571789835</c:v>
                </c:pt>
                <c:pt idx="5">
                  <c:v>21.280315000196396</c:v>
                </c:pt>
                <c:pt idx="6">
                  <c:v>19.392172543916246</c:v>
                </c:pt>
                <c:pt idx="7">
                  <c:v>21.098571083736132</c:v>
                </c:pt>
                <c:pt idx="8">
                  <c:v>23.382996247824195</c:v>
                </c:pt>
                <c:pt idx="9">
                  <c:v>27.3409021394726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B64B-43BB-B5DA-B98E0D4E80A6}"/>
            </c:ext>
          </c:extLst>
        </c:ser>
        <c:ser>
          <c:idx val="18"/>
          <c:order val="18"/>
          <c:spPr>
            <a:solidFill>
              <a:schemeClr val="accent2"/>
            </a:solidFill>
            <a:ln>
              <a:noFill/>
            </a:ln>
          </c:spPr>
          <c:val>
            <c:numRef>
              <c:f>Sheet1!$A$19:$J$19</c:f>
              <c:numCache>
                <c:formatCode>General</c:formatCode>
                <c:ptCount val="10"/>
                <c:pt idx="0">
                  <c:v>3.1532165016380986</c:v>
                </c:pt>
                <c:pt idx="1">
                  <c:v>2.6769114752023739</c:v>
                </c:pt>
                <c:pt idx="2">
                  <c:v>2.5338575397092598</c:v>
                </c:pt>
                <c:pt idx="3">
                  <c:v>2.5270731965962625</c:v>
                </c:pt>
                <c:pt idx="4">
                  <c:v>2.2841917196654578</c:v>
                </c:pt>
                <c:pt idx="5">
                  <c:v>2.3531257059483579</c:v>
                </c:pt>
                <c:pt idx="6">
                  <c:v>2.6459691470806774</c:v>
                </c:pt>
                <c:pt idx="7">
                  <c:v>2.3392698665980447</c:v>
                </c:pt>
                <c:pt idx="8">
                  <c:v>1.8871606998692982</c:v>
                </c:pt>
                <c:pt idx="9">
                  <c:v>1.7461859663490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B64B-43BB-B5DA-B98E0D4E80A6}"/>
            </c:ext>
          </c:extLst>
        </c:ser>
        <c:ser>
          <c:idx val="19"/>
          <c:order val="19"/>
          <c:spPr>
            <a:solidFill>
              <a:schemeClr val="accent1"/>
            </a:solidFill>
            <a:ln>
              <a:noFill/>
            </a:ln>
          </c:spPr>
          <c:val>
            <c:numRef>
              <c:f>Sheet1!$A$20:$J$20</c:f>
              <c:numCache>
                <c:formatCode>General</c:formatCode>
                <c:ptCount val="10"/>
                <c:pt idx="0">
                  <c:v>0.26249257451978281</c:v>
                </c:pt>
                <c:pt idx="1">
                  <c:v>0.30007894559456361</c:v>
                </c:pt>
                <c:pt idx="2">
                  <c:v>0.30605566106422089</c:v>
                </c:pt>
                <c:pt idx="3">
                  <c:v>0.29962291076338943</c:v>
                </c:pt>
                <c:pt idx="4">
                  <c:v>0.26406678226945246</c:v>
                </c:pt>
                <c:pt idx="5">
                  <c:v>0.25576596881482772</c:v>
                </c:pt>
                <c:pt idx="6">
                  <c:v>0.27401259081923968</c:v>
                </c:pt>
                <c:pt idx="7">
                  <c:v>0.26890100007862827</c:v>
                </c:pt>
                <c:pt idx="8">
                  <c:v>0.21056976557817109</c:v>
                </c:pt>
                <c:pt idx="9">
                  <c:v>0.159641071116297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B64B-43BB-B5DA-B98E0D4E80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58203736"/>
        <c:axId val="1"/>
      </c:areaChart>
      <c:catAx>
        <c:axId val="858203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858203736"/>
        <c:crosses val="max"/>
        <c:crossBetween val="midCat"/>
        <c:majorUnit val="5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105575326215899E-3"/>
          <c:y val="3.1511254019292605E-2"/>
          <c:w val="0.95877817319098457"/>
          <c:h val="0.9369774919614147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7.961140694322097</c:v>
                </c:pt>
                <c:pt idx="1">
                  <c:v>7.4325306415396408</c:v>
                </c:pt>
                <c:pt idx="2">
                  <c:v>7.5163200697684118</c:v>
                </c:pt>
                <c:pt idx="3">
                  <c:v>7.7993488721694773</c:v>
                </c:pt>
                <c:pt idx="4">
                  <c:v>8.0339344008588078</c:v>
                </c:pt>
                <c:pt idx="5">
                  <c:v>8.429286448091224</c:v>
                </c:pt>
                <c:pt idx="6">
                  <c:v>8.8867734688819215</c:v>
                </c:pt>
                <c:pt idx="7">
                  <c:v>9.2392134580795453</c:v>
                </c:pt>
                <c:pt idx="8">
                  <c:v>7.9727622437161996</c:v>
                </c:pt>
                <c:pt idx="9">
                  <c:v>8.53179649352236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9E-47EA-851A-700715966B89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5.8881479086601534</c:v>
                </c:pt>
                <c:pt idx="1">
                  <c:v>5.4739977814423408</c:v>
                </c:pt>
                <c:pt idx="2">
                  <c:v>5.3292497147786531</c:v>
                </c:pt>
                <c:pt idx="3">
                  <c:v>5.6337711691378489</c:v>
                </c:pt>
                <c:pt idx="4">
                  <c:v>5.8048775504521881</c:v>
                </c:pt>
                <c:pt idx="5">
                  <c:v>5.3492489033090589</c:v>
                </c:pt>
                <c:pt idx="6">
                  <c:v>5.1303847566498444</c:v>
                </c:pt>
                <c:pt idx="7">
                  <c:v>4.9706976560317528</c:v>
                </c:pt>
                <c:pt idx="8">
                  <c:v>4.2800475013855168</c:v>
                </c:pt>
                <c:pt idx="9">
                  <c:v>4.22251915254942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9E-47EA-851A-700715966B89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5.3361393433354305</c:v>
                </c:pt>
                <c:pt idx="1">
                  <c:v>5.534168307265471</c:v>
                </c:pt>
                <c:pt idx="2">
                  <c:v>5.6976635770070043</c:v>
                </c:pt>
                <c:pt idx="3">
                  <c:v>5.8003190533415996</c:v>
                </c:pt>
                <c:pt idx="4">
                  <c:v>5.7441421684001401</c:v>
                </c:pt>
                <c:pt idx="5">
                  <c:v>5.928573069337002</c:v>
                </c:pt>
                <c:pt idx="6">
                  <c:v>6.0747703952226857</c:v>
                </c:pt>
                <c:pt idx="7">
                  <c:v>6.3338890036847939</c:v>
                </c:pt>
                <c:pt idx="8">
                  <c:v>6.4446772369466014</c:v>
                </c:pt>
                <c:pt idx="9">
                  <c:v>6.7158721960511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49E-47EA-851A-700715966B89}"/>
            </c:ext>
          </c:extLst>
        </c:ser>
        <c:ser>
          <c:idx val="3"/>
          <c:order val="3"/>
          <c:spPr>
            <a:solidFill>
              <a:schemeClr val="accent2"/>
            </a:solidFill>
            <a:ln>
              <a:noFill/>
            </a:ln>
          </c:spPr>
          <c:val>
            <c:numRef>
              <c:f>Sheet1!$A$4:$J$4</c:f>
              <c:numCache>
                <c:formatCode>General</c:formatCode>
                <c:ptCount val="10"/>
                <c:pt idx="0">
                  <c:v>10.806387051931949</c:v>
                </c:pt>
                <c:pt idx="1">
                  <c:v>10.29967077212833</c:v>
                </c:pt>
                <c:pt idx="2">
                  <c:v>10.564866790124793</c:v>
                </c:pt>
                <c:pt idx="3">
                  <c:v>9.766613585074591</c:v>
                </c:pt>
                <c:pt idx="4">
                  <c:v>9.6413598321455041</c:v>
                </c:pt>
                <c:pt idx="5">
                  <c:v>9.241378316794826</c:v>
                </c:pt>
                <c:pt idx="6">
                  <c:v>8.5300195767442482</c:v>
                </c:pt>
                <c:pt idx="7">
                  <c:v>8.1789238873616235</c:v>
                </c:pt>
                <c:pt idx="8">
                  <c:v>7.0819763470159707</c:v>
                </c:pt>
                <c:pt idx="9">
                  <c:v>6.5506024266042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49E-47EA-851A-700715966B89}"/>
            </c:ext>
          </c:extLst>
        </c:ser>
        <c:ser>
          <c:idx val="4"/>
          <c:order val="4"/>
          <c:spPr>
            <a:solidFill>
              <a:schemeClr val="accent1"/>
            </a:solidFill>
            <a:ln>
              <a:noFill/>
            </a:ln>
          </c:spPr>
          <c:val>
            <c:numRef>
              <c:f>Sheet1!$A$5:$J$5</c:f>
              <c:numCache>
                <c:formatCode>General</c:formatCode>
                <c:ptCount val="10"/>
                <c:pt idx="0">
                  <c:v>5.5817364756784258</c:v>
                </c:pt>
                <c:pt idx="1">
                  <c:v>5.6103668864068155</c:v>
                </c:pt>
                <c:pt idx="2">
                  <c:v>5.6325650270761329</c:v>
                </c:pt>
                <c:pt idx="3">
                  <c:v>5.0256052624354481</c:v>
                </c:pt>
                <c:pt idx="4">
                  <c:v>4.8304977654387251</c:v>
                </c:pt>
                <c:pt idx="5">
                  <c:v>5.726902916627477</c:v>
                </c:pt>
                <c:pt idx="6">
                  <c:v>5.5293958097797464</c:v>
                </c:pt>
                <c:pt idx="7">
                  <c:v>6.0044647473775257</c:v>
                </c:pt>
                <c:pt idx="8">
                  <c:v>6.63252774687545</c:v>
                </c:pt>
                <c:pt idx="9">
                  <c:v>6.43773532799117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49E-47EA-851A-700715966B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45889640"/>
        <c:axId val="1"/>
      </c:areaChart>
      <c:catAx>
        <c:axId val="6458896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645889640"/>
        <c:crosses val="max"/>
        <c:crossBetween val="midCat"/>
        <c:majorUnit val="2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340514246004169E-3"/>
          <c:y val="3.1511254019292605E-2"/>
          <c:w val="0.94475330090340515"/>
          <c:h val="0.9369774919614147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2.0335537384309168</c:v>
                </c:pt>
                <c:pt idx="1">
                  <c:v>1.9691875797710749</c:v>
                </c:pt>
                <c:pt idx="2">
                  <c:v>1.9439839337486089</c:v>
                </c:pt>
                <c:pt idx="3">
                  <c:v>2.1263349481020781</c:v>
                </c:pt>
                <c:pt idx="4">
                  <c:v>2.026828355310883</c:v>
                </c:pt>
                <c:pt idx="5">
                  <c:v>1.8512676828165939</c:v>
                </c:pt>
                <c:pt idx="6">
                  <c:v>2.0701494656218848</c:v>
                </c:pt>
                <c:pt idx="7">
                  <c:v>2.1367172286797671</c:v>
                </c:pt>
                <c:pt idx="8">
                  <c:v>1.474504550275362</c:v>
                </c:pt>
                <c:pt idx="9">
                  <c:v>1.70393629879570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5C-49D5-B52E-518FDE67D6FE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19.006827592381349</c:v>
                </c:pt>
                <c:pt idx="1">
                  <c:v>18.949986364214428</c:v>
                </c:pt>
                <c:pt idx="2">
                  <c:v>19.39463677770037</c:v>
                </c:pt>
                <c:pt idx="3">
                  <c:v>19.704144543413619</c:v>
                </c:pt>
                <c:pt idx="4">
                  <c:v>20.081786106864541</c:v>
                </c:pt>
                <c:pt idx="5">
                  <c:v>20.333126932181958</c:v>
                </c:pt>
                <c:pt idx="6">
                  <c:v>20.378185813053399</c:v>
                </c:pt>
                <c:pt idx="7">
                  <c:v>20.445520964449429</c:v>
                </c:pt>
                <c:pt idx="8">
                  <c:v>21.096919632267429</c:v>
                </c:pt>
                <c:pt idx="9">
                  <c:v>22.4307436114298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5C-49D5-B52E-518FDE67D6FE}"/>
            </c:ext>
          </c:extLst>
        </c:ser>
        <c:ser>
          <c:idx val="2"/>
          <c:order val="2"/>
          <c:spPr>
            <a:solidFill>
              <a:schemeClr val="accent6"/>
            </a:solidFill>
            <a:ln>
              <a:noFill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0.55943899519160567</c:v>
                </c:pt>
                <c:pt idx="1">
                  <c:v>0.55351376101120309</c:v>
                </c:pt>
                <c:pt idx="2">
                  <c:v>0.55892911307948623</c:v>
                </c:pt>
                <c:pt idx="3">
                  <c:v>0.57737754611467196</c:v>
                </c:pt>
                <c:pt idx="4">
                  <c:v>0.53996081967799014</c:v>
                </c:pt>
                <c:pt idx="5">
                  <c:v>0.58114988055926631</c:v>
                </c:pt>
                <c:pt idx="6">
                  <c:v>0.59219597510560007</c:v>
                </c:pt>
                <c:pt idx="7">
                  <c:v>0.64429920703176435</c:v>
                </c:pt>
                <c:pt idx="8">
                  <c:v>0.64562948487491312</c:v>
                </c:pt>
                <c:pt idx="9">
                  <c:v>0.77584554044213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85C-49D5-B52E-518FDE67D6FE}"/>
            </c:ext>
          </c:extLst>
        </c:ser>
        <c:ser>
          <c:idx val="3"/>
          <c:order val="3"/>
          <c:spPr>
            <a:solidFill>
              <a:schemeClr val="accent5"/>
            </a:solidFill>
            <a:ln>
              <a:noFill/>
            </a:ln>
          </c:spPr>
          <c:val>
            <c:numRef>
              <c:f>Sheet1!$A$4:$J$4</c:f>
              <c:numCache>
                <c:formatCode>General</c:formatCode>
                <c:ptCount val="10"/>
                <c:pt idx="0">
                  <c:v>0.31811737526221151</c:v>
                </c:pt>
                <c:pt idx="1">
                  <c:v>0.29450772770642786</c:v>
                </c:pt>
                <c:pt idx="2">
                  <c:v>0.29806138207413468</c:v>
                </c:pt>
                <c:pt idx="3">
                  <c:v>0.31604315391277638</c:v>
                </c:pt>
                <c:pt idx="4">
                  <c:v>0.30150032385423486</c:v>
                </c:pt>
                <c:pt idx="5">
                  <c:v>0.28016909453856442</c:v>
                </c:pt>
                <c:pt idx="6">
                  <c:v>0.27999235694078806</c:v>
                </c:pt>
                <c:pt idx="7">
                  <c:v>0.28406511733732387</c:v>
                </c:pt>
                <c:pt idx="8">
                  <c:v>0.25889939193305267</c:v>
                </c:pt>
                <c:pt idx="9">
                  <c:v>0.277624154833919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85C-49D5-B52E-518FDE67D6FE}"/>
            </c:ext>
          </c:extLst>
        </c:ser>
        <c:ser>
          <c:idx val="4"/>
          <c:order val="4"/>
          <c:spPr>
            <a:solidFill>
              <a:schemeClr val="accent4"/>
            </a:solidFill>
            <a:ln>
              <a:noFill/>
            </a:ln>
          </c:spPr>
          <c:val>
            <c:numRef>
              <c:f>Sheet1!$A$5:$J$5</c:f>
              <c:numCache>
                <c:formatCode>General</c:formatCode>
                <c:ptCount val="10"/>
                <c:pt idx="0">
                  <c:v>0.73985948409019997</c:v>
                </c:pt>
                <c:pt idx="1">
                  <c:v>0.73223093797327365</c:v>
                </c:pt>
                <c:pt idx="2">
                  <c:v>0.77498615155225181</c:v>
                </c:pt>
                <c:pt idx="3">
                  <c:v>0.78676441577704281</c:v>
                </c:pt>
                <c:pt idx="4">
                  <c:v>0.81335400293714955</c:v>
                </c:pt>
                <c:pt idx="5">
                  <c:v>0.82041753403933271</c:v>
                </c:pt>
                <c:pt idx="6">
                  <c:v>0.82854526550533691</c:v>
                </c:pt>
                <c:pt idx="7">
                  <c:v>0.85389448637793564</c:v>
                </c:pt>
                <c:pt idx="8">
                  <c:v>0.84082845433271913</c:v>
                </c:pt>
                <c:pt idx="9">
                  <c:v>0.927588566877762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5C-49D5-B52E-518FDE67D6FE}"/>
            </c:ext>
          </c:extLst>
        </c:ser>
        <c:ser>
          <c:idx val="5"/>
          <c:order val="5"/>
          <c:spPr>
            <a:solidFill>
              <a:schemeClr val="accent3"/>
            </a:solidFill>
            <a:ln>
              <a:noFill/>
            </a:ln>
          </c:spPr>
          <c:val>
            <c:numRef>
              <c:f>Sheet1!$A$6:$J$6</c:f>
              <c:numCache>
                <c:formatCode>General</c:formatCode>
                <c:ptCount val="10"/>
                <c:pt idx="0">
                  <c:v>11.08050568573135</c:v>
                </c:pt>
                <c:pt idx="1">
                  <c:v>11.203584154529029</c:v>
                </c:pt>
                <c:pt idx="2">
                  <c:v>11.463532066172522</c:v>
                </c:pt>
                <c:pt idx="3">
                  <c:v>11.699349527108673</c:v>
                </c:pt>
                <c:pt idx="4">
                  <c:v>11.733265819248203</c:v>
                </c:pt>
                <c:pt idx="5">
                  <c:v>11.729676980914842</c:v>
                </c:pt>
                <c:pt idx="6">
                  <c:v>11.542349461847603</c:v>
                </c:pt>
                <c:pt idx="7">
                  <c:v>11.759228739578877</c:v>
                </c:pt>
                <c:pt idx="8">
                  <c:v>10.5527802605577</c:v>
                </c:pt>
                <c:pt idx="9">
                  <c:v>10.7511729379738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85C-49D5-B52E-518FDE67D6FE}"/>
            </c:ext>
          </c:extLst>
        </c:ser>
        <c:ser>
          <c:idx val="6"/>
          <c:order val="6"/>
          <c:spPr>
            <a:solidFill>
              <a:schemeClr val="accent2"/>
            </a:solidFill>
            <a:ln>
              <a:noFill/>
            </a:ln>
          </c:spPr>
          <c:val>
            <c:numRef>
              <c:f>Sheet1!$A$7:$J$7</c:f>
              <c:numCache>
                <c:formatCode>General</c:formatCode>
                <c:ptCount val="10"/>
                <c:pt idx="0">
                  <c:v>5.1210715634129755</c:v>
                </c:pt>
                <c:pt idx="1">
                  <c:v>5.106598642702096</c:v>
                </c:pt>
                <c:pt idx="2">
                  <c:v>5.213570961107358</c:v>
                </c:pt>
                <c:pt idx="3">
                  <c:v>5.1310035783076557</c:v>
                </c:pt>
                <c:pt idx="4">
                  <c:v>5.1781756641762229</c:v>
                </c:pt>
                <c:pt idx="5">
                  <c:v>5.1508343984178637</c:v>
                </c:pt>
                <c:pt idx="6">
                  <c:v>5.2041042796828378</c:v>
                </c:pt>
                <c:pt idx="7">
                  <c:v>5.2528366296865983</c:v>
                </c:pt>
                <c:pt idx="8">
                  <c:v>10.676470679149162</c:v>
                </c:pt>
                <c:pt idx="9">
                  <c:v>6.4570437486895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85C-49D5-B52E-518FDE67D6FE}"/>
            </c:ext>
          </c:extLst>
        </c:ser>
        <c:ser>
          <c:idx val="7"/>
          <c:order val="7"/>
          <c:spPr>
            <a:solidFill>
              <a:schemeClr val="accent1"/>
            </a:solidFill>
            <a:ln>
              <a:noFill/>
            </a:ln>
          </c:spPr>
          <c:val>
            <c:numRef>
              <c:f>Sheet1!$A$8:$J$8</c:f>
              <c:numCache>
                <c:formatCode>General</c:formatCode>
                <c:ptCount val="10"/>
                <c:pt idx="0">
                  <c:v>18.185358832265592</c:v>
                </c:pt>
                <c:pt idx="1">
                  <c:v>17.981093387378017</c:v>
                </c:pt>
                <c:pt idx="2">
                  <c:v>18.197453708760435</c:v>
                </c:pt>
                <c:pt idx="3">
                  <c:v>18.440214585824847</c:v>
                </c:pt>
                <c:pt idx="4">
                  <c:v>18.349233669201631</c:v>
                </c:pt>
                <c:pt idx="5">
                  <c:v>18.318655934482067</c:v>
                </c:pt>
                <c:pt idx="6">
                  <c:v>18.204389947509796</c:v>
                </c:pt>
                <c:pt idx="7">
                  <c:v>18.219866307568864</c:v>
                </c:pt>
                <c:pt idx="8">
                  <c:v>17.193764730438815</c:v>
                </c:pt>
                <c:pt idx="9">
                  <c:v>16.2142023597517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85C-49D5-B52E-518FDE67D6FE}"/>
            </c:ext>
          </c:extLst>
        </c:ser>
        <c:ser>
          <c:idx val="8"/>
          <c:order val="8"/>
          <c:spPr>
            <a:solidFill>
              <a:schemeClr val="accent6"/>
            </a:solidFill>
            <a:ln>
              <a:noFill/>
            </a:ln>
          </c:spPr>
          <c:val>
            <c:numRef>
              <c:f>Sheet1!$A$9:$J$9</c:f>
              <c:numCache>
                <c:formatCode>General</c:formatCode>
                <c:ptCount val="10"/>
                <c:pt idx="0">
                  <c:v>18.530925234634026</c:v>
                </c:pt>
                <c:pt idx="1">
                  <c:v>18.481843921093258</c:v>
                </c:pt>
                <c:pt idx="2">
                  <c:v>18.371416309513407</c:v>
                </c:pt>
                <c:pt idx="3">
                  <c:v>18.500768012702537</c:v>
                </c:pt>
                <c:pt idx="4">
                  <c:v>18.452213106195607</c:v>
                </c:pt>
                <c:pt idx="5">
                  <c:v>18.161862494788991</c:v>
                </c:pt>
                <c:pt idx="6">
                  <c:v>18.223322548688188</c:v>
                </c:pt>
                <c:pt idx="7">
                  <c:v>18.450736958584443</c:v>
                </c:pt>
                <c:pt idx="8">
                  <c:v>17.156206401820413</c:v>
                </c:pt>
                <c:pt idx="9">
                  <c:v>18.5452082527533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85C-49D5-B52E-518FDE67D6FE}"/>
            </c:ext>
          </c:extLst>
        </c:ser>
        <c:ser>
          <c:idx val="9"/>
          <c:order val="9"/>
          <c:spPr>
            <a:solidFill>
              <a:schemeClr val="accent5"/>
            </a:solidFill>
            <a:ln>
              <a:noFill/>
            </a:ln>
          </c:spPr>
          <c:val>
            <c:numRef>
              <c:f>Sheet1!$A$10:$J$10</c:f>
              <c:numCache>
                <c:formatCode>General</c:formatCode>
                <c:ptCount val="10"/>
                <c:pt idx="0">
                  <c:v>2.4429681856492351</c:v>
                </c:pt>
                <c:pt idx="1">
                  <c:v>2.5727668836924096</c:v>
                </c:pt>
                <c:pt idx="2">
                  <c:v>2.6763869133538662</c:v>
                </c:pt>
                <c:pt idx="3">
                  <c:v>2.5701355489392483</c:v>
                </c:pt>
                <c:pt idx="4">
                  <c:v>2.6146066115957751</c:v>
                </c:pt>
                <c:pt idx="5">
                  <c:v>2.7817663883170525</c:v>
                </c:pt>
                <c:pt idx="6">
                  <c:v>2.6839716033006908</c:v>
                </c:pt>
                <c:pt idx="7">
                  <c:v>2.6987306080811635</c:v>
                </c:pt>
                <c:pt idx="8">
                  <c:v>2.5117301095848035</c:v>
                </c:pt>
                <c:pt idx="9">
                  <c:v>2.86270605700165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85C-49D5-B52E-518FDE67D6FE}"/>
            </c:ext>
          </c:extLst>
        </c:ser>
        <c:ser>
          <c:idx val="10"/>
          <c:order val="10"/>
          <c:spPr>
            <a:solidFill>
              <a:schemeClr val="accent4"/>
            </a:solidFill>
            <a:ln>
              <a:noFill/>
            </a:ln>
          </c:spPr>
          <c:val>
            <c:numRef>
              <c:f>Sheet1!$A$11:$J$11</c:f>
              <c:numCache>
                <c:formatCode>General</c:formatCode>
                <c:ptCount val="10"/>
                <c:pt idx="0">
                  <c:v>2.0884518244177883</c:v>
                </c:pt>
                <c:pt idx="1">
                  <c:v>2.0520710647143972</c:v>
                </c:pt>
                <c:pt idx="2">
                  <c:v>1.9711677692791767</c:v>
                </c:pt>
                <c:pt idx="3">
                  <c:v>1.9212539305842427</c:v>
                </c:pt>
                <c:pt idx="4">
                  <c:v>2.0410653046562004</c:v>
                </c:pt>
                <c:pt idx="5">
                  <c:v>2.0753444960391221</c:v>
                </c:pt>
                <c:pt idx="6">
                  <c:v>2.0389449383558969</c:v>
                </c:pt>
                <c:pt idx="7">
                  <c:v>1.9829457561563117</c:v>
                </c:pt>
                <c:pt idx="8">
                  <c:v>1.8680961713905049</c:v>
                </c:pt>
                <c:pt idx="9">
                  <c:v>1.97262778390738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85C-49D5-B52E-518FDE67D6FE}"/>
            </c:ext>
          </c:extLst>
        </c:ser>
        <c:ser>
          <c:idx val="11"/>
          <c:order val="11"/>
          <c:spPr>
            <a:solidFill>
              <a:schemeClr val="accent3"/>
            </a:solidFill>
            <a:ln>
              <a:noFill/>
            </a:ln>
          </c:spPr>
          <c:val>
            <c:numRef>
              <c:f>Sheet1!$A$12:$J$12</c:f>
              <c:numCache>
                <c:formatCode>General</c:formatCode>
                <c:ptCount val="10"/>
                <c:pt idx="0">
                  <c:v>1.0301260110114896</c:v>
                </c:pt>
                <c:pt idx="1">
                  <c:v>1.0440410612823285</c:v>
                </c:pt>
                <c:pt idx="2">
                  <c:v>1.0314752315395879</c:v>
                </c:pt>
                <c:pt idx="3">
                  <c:v>0.99386941634145387</c:v>
                </c:pt>
                <c:pt idx="4">
                  <c:v>1.0247089579709723</c:v>
                </c:pt>
                <c:pt idx="5">
                  <c:v>1.0009959768483014</c:v>
                </c:pt>
                <c:pt idx="6">
                  <c:v>0.96797091974258365</c:v>
                </c:pt>
                <c:pt idx="7">
                  <c:v>0.93491974073810979</c:v>
                </c:pt>
                <c:pt idx="8">
                  <c:v>0.8134061688755736</c:v>
                </c:pt>
                <c:pt idx="9">
                  <c:v>0.874314469986401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85C-49D5-B52E-518FDE67D6FE}"/>
            </c:ext>
          </c:extLst>
        </c:ser>
        <c:ser>
          <c:idx val="12"/>
          <c:order val="12"/>
          <c:spPr>
            <a:solidFill>
              <a:schemeClr val="accent2"/>
            </a:solidFill>
            <a:ln>
              <a:noFill/>
            </a:ln>
          </c:spPr>
          <c:val>
            <c:numRef>
              <c:f>Sheet1!$A$13:$J$13</c:f>
              <c:numCache>
                <c:formatCode>General</c:formatCode>
                <c:ptCount val="10"/>
                <c:pt idx="0">
                  <c:v>1.3559441861066688</c:v>
                </c:pt>
                <c:pt idx="1">
                  <c:v>1.3766315151289348</c:v>
                </c:pt>
                <c:pt idx="2">
                  <c:v>1.369888227735828</c:v>
                </c:pt>
                <c:pt idx="3">
                  <c:v>1.3067159221045443</c:v>
                </c:pt>
                <c:pt idx="4">
                  <c:v>1.312342456965979</c:v>
                </c:pt>
                <c:pt idx="5">
                  <c:v>1.2886926157692784</c:v>
                </c:pt>
                <c:pt idx="6">
                  <c:v>1.2896266007756907</c:v>
                </c:pt>
                <c:pt idx="7">
                  <c:v>1.2541797261071395</c:v>
                </c:pt>
                <c:pt idx="8">
                  <c:v>1.2430590692632109</c:v>
                </c:pt>
                <c:pt idx="9">
                  <c:v>1.31946647267372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85C-49D5-B52E-518FDE67D6FE}"/>
            </c:ext>
          </c:extLst>
        </c:ser>
        <c:ser>
          <c:idx val="13"/>
          <c:order val="13"/>
          <c:spPr>
            <a:solidFill>
              <a:schemeClr val="accent1"/>
            </a:solidFill>
            <a:ln>
              <a:noFill/>
            </a:ln>
          </c:spPr>
          <c:val>
            <c:numRef>
              <c:f>Sheet1!$A$14:$J$14</c:f>
              <c:numCache>
                <c:formatCode>General</c:formatCode>
                <c:ptCount val="10"/>
                <c:pt idx="0">
                  <c:v>1.9785637794055901</c:v>
                </c:pt>
                <c:pt idx="1">
                  <c:v>2.0185895863385781</c:v>
                </c:pt>
                <c:pt idx="2">
                  <c:v>2.0196072083615917</c:v>
                </c:pt>
                <c:pt idx="3">
                  <c:v>2.0226943753140603</c:v>
                </c:pt>
                <c:pt idx="4">
                  <c:v>2.077854222862257</c:v>
                </c:pt>
                <c:pt idx="5">
                  <c:v>2.0695745575109186</c:v>
                </c:pt>
                <c:pt idx="6">
                  <c:v>2.1270609164009784</c:v>
                </c:pt>
                <c:pt idx="7">
                  <c:v>2.1196815117832841</c:v>
                </c:pt>
                <c:pt idx="8">
                  <c:v>2.4475561384967648</c:v>
                </c:pt>
                <c:pt idx="9">
                  <c:v>2.33618184934265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685C-49D5-B52E-518FDE67D6FE}"/>
            </c:ext>
          </c:extLst>
        </c:ser>
        <c:ser>
          <c:idx val="14"/>
          <c:order val="14"/>
          <c:spPr>
            <a:solidFill>
              <a:schemeClr val="accent6"/>
            </a:solidFill>
            <a:ln>
              <a:noFill/>
            </a:ln>
          </c:spPr>
          <c:val>
            <c:numRef>
              <c:f>Sheet1!$A$15:$J$15</c:f>
              <c:numCache>
                <c:formatCode>General</c:formatCode>
                <c:ptCount val="10"/>
                <c:pt idx="0">
                  <c:v>3.6053056661638152</c:v>
                </c:pt>
                <c:pt idx="1">
                  <c:v>3.5802845706557918</c:v>
                </c:pt>
                <c:pt idx="2">
                  <c:v>3.4423507331432148</c:v>
                </c:pt>
                <c:pt idx="3">
                  <c:v>3.3253231516503661</c:v>
                </c:pt>
                <c:pt idx="4">
                  <c:v>3.2531385780344522</c:v>
                </c:pt>
                <c:pt idx="5">
                  <c:v>3.2457562737103558</c:v>
                </c:pt>
                <c:pt idx="6">
                  <c:v>3.2158536007439977</c:v>
                </c:pt>
                <c:pt idx="7">
                  <c:v>3.0932374258024282</c:v>
                </c:pt>
                <c:pt idx="8">
                  <c:v>2.69238279965532</c:v>
                </c:pt>
                <c:pt idx="9">
                  <c:v>2.89635321825713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85C-49D5-B52E-518FDE67D6FE}"/>
            </c:ext>
          </c:extLst>
        </c:ser>
        <c:ser>
          <c:idx val="15"/>
          <c:order val="15"/>
          <c:spPr>
            <a:solidFill>
              <a:schemeClr val="accent5"/>
            </a:solidFill>
            <a:ln>
              <a:noFill/>
            </a:ln>
          </c:spPr>
          <c:val>
            <c:numRef>
              <c:f>Sheet1!$A$16:$J$16</c:f>
              <c:numCache>
                <c:formatCode>General</c:formatCode>
                <c:ptCount val="10"/>
                <c:pt idx="0">
                  <c:v>4.1302920054119312</c:v>
                </c:pt>
                <c:pt idx="1">
                  <c:v>4.1615575969211562</c:v>
                </c:pt>
                <c:pt idx="2">
                  <c:v>4.2135349649167324</c:v>
                </c:pt>
                <c:pt idx="3">
                  <c:v>3.9585565021685341</c:v>
                </c:pt>
                <c:pt idx="4">
                  <c:v>3.8823675608504686</c:v>
                </c:pt>
                <c:pt idx="5">
                  <c:v>3.9399545896025927</c:v>
                </c:pt>
                <c:pt idx="6">
                  <c:v>3.964885192664994</c:v>
                </c:pt>
                <c:pt idx="7">
                  <c:v>3.9122884323661111</c:v>
                </c:pt>
                <c:pt idx="8">
                  <c:v>3.3697982608615717</c:v>
                </c:pt>
                <c:pt idx="9">
                  <c:v>3.80480704473185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685C-49D5-B52E-518FDE67D6FE}"/>
            </c:ext>
          </c:extLst>
        </c:ser>
        <c:ser>
          <c:idx val="16"/>
          <c:order val="16"/>
          <c:spPr>
            <a:solidFill>
              <a:schemeClr val="accent4"/>
            </a:solidFill>
            <a:ln>
              <a:noFill/>
            </a:ln>
          </c:spPr>
          <c:val>
            <c:numRef>
              <c:f>Sheet1!$A$17:$J$17</c:f>
              <c:numCache>
                <c:formatCode>General</c:formatCode>
                <c:ptCount val="10"/>
                <c:pt idx="0">
                  <c:v>0.32118781831327681</c:v>
                </c:pt>
                <c:pt idx="1">
                  <c:v>0.3147933569507444</c:v>
                </c:pt>
                <c:pt idx="2">
                  <c:v>0.32603358080075395</c:v>
                </c:pt>
                <c:pt idx="3">
                  <c:v>0.34040913617000967</c:v>
                </c:pt>
                <c:pt idx="4">
                  <c:v>0.33877776748320798</c:v>
                </c:pt>
                <c:pt idx="5">
                  <c:v>0.32231769523828291</c:v>
                </c:pt>
                <c:pt idx="6">
                  <c:v>0.33535441747578432</c:v>
                </c:pt>
                <c:pt idx="7">
                  <c:v>0.38444174971901646</c:v>
                </c:pt>
                <c:pt idx="8">
                  <c:v>0.35258961599119232</c:v>
                </c:pt>
                <c:pt idx="9">
                  <c:v>0.401699248049538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685C-49D5-B52E-518FDE67D6FE}"/>
            </c:ext>
          </c:extLst>
        </c:ser>
        <c:ser>
          <c:idx val="17"/>
          <c:order val="17"/>
          <c:spPr>
            <a:solidFill>
              <a:schemeClr val="accent3"/>
            </a:solidFill>
            <a:ln>
              <a:noFill/>
            </a:ln>
          </c:spPr>
          <c:val>
            <c:numRef>
              <c:f>Sheet1!$A$18:$J$18</c:f>
              <c:numCache>
                <c:formatCode>General</c:formatCode>
                <c:ptCount val="10"/>
                <c:pt idx="0">
                  <c:v>5.9175854461880988</c:v>
                </c:pt>
                <c:pt idx="1">
                  <c:v>6.1014884648117231</c:v>
                </c:pt>
                <c:pt idx="2">
                  <c:v>5.3077442963485311</c:v>
                </c:pt>
                <c:pt idx="3">
                  <c:v>4.9554946264336763</c:v>
                </c:pt>
                <c:pt idx="4">
                  <c:v>4.6657701601042874</c:v>
                </c:pt>
                <c:pt idx="5">
                  <c:v>4.7633100458457562</c:v>
                </c:pt>
                <c:pt idx="6">
                  <c:v>4.6971113394689183</c:v>
                </c:pt>
                <c:pt idx="7">
                  <c:v>4.3692978102462376</c:v>
                </c:pt>
                <c:pt idx="8">
                  <c:v>3.9417578825527784</c:v>
                </c:pt>
                <c:pt idx="9">
                  <c:v>4.51874591060322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685C-49D5-B52E-518FDE67D6FE}"/>
            </c:ext>
          </c:extLst>
        </c:ser>
        <c:ser>
          <c:idx val="18"/>
          <c:order val="18"/>
          <c:spPr>
            <a:solidFill>
              <a:schemeClr val="accent2"/>
            </a:solidFill>
            <a:ln>
              <a:noFill/>
            </a:ln>
          </c:spPr>
          <c:val>
            <c:numRef>
              <c:f>Sheet1!$A$19:$J$19</c:f>
              <c:numCache>
                <c:formatCode>General</c:formatCode>
                <c:ptCount val="10"/>
                <c:pt idx="0">
                  <c:v>1.3014785287177659</c:v>
                </c:pt>
                <c:pt idx="1">
                  <c:v>1.2654986729538678</c:v>
                </c:pt>
                <c:pt idx="2">
                  <c:v>1.2065526246652354</c:v>
                </c:pt>
                <c:pt idx="3">
                  <c:v>1.1366358119544344</c:v>
                </c:pt>
                <c:pt idx="4">
                  <c:v>1.1401506814294322</c:v>
                </c:pt>
                <c:pt idx="5">
                  <c:v>1.1191827887100203</c:v>
                </c:pt>
                <c:pt idx="6">
                  <c:v>1.1899280953170717</c:v>
                </c:pt>
                <c:pt idx="7">
                  <c:v>1.0495369998916289</c:v>
                </c:pt>
                <c:pt idx="8">
                  <c:v>0.75748205884191577</c:v>
                </c:pt>
                <c:pt idx="9">
                  <c:v>0.82083348161539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685C-49D5-B52E-518FDE67D6FE}"/>
            </c:ext>
          </c:extLst>
        </c:ser>
        <c:ser>
          <c:idx val="19"/>
          <c:order val="19"/>
          <c:spPr>
            <a:solidFill>
              <a:schemeClr val="accent1"/>
            </a:solidFill>
            <a:ln>
              <a:noFill/>
            </a:ln>
          </c:spPr>
          <c:val>
            <c:numRef>
              <c:f>Sheet1!$A$20:$J$20</c:f>
              <c:numCache>
                <c:formatCode>General</c:formatCode>
                <c:ptCount val="10"/>
                <c:pt idx="0">
                  <c:v>0.25243804721414165</c:v>
                </c:pt>
                <c:pt idx="1">
                  <c:v>0.23973075017127599</c:v>
                </c:pt>
                <c:pt idx="2">
                  <c:v>0.21868804614692294</c:v>
                </c:pt>
                <c:pt idx="3">
                  <c:v>0.18691126707555838</c:v>
                </c:pt>
                <c:pt idx="4">
                  <c:v>0.17289983058053338</c:v>
                </c:pt>
                <c:pt idx="5">
                  <c:v>0.16594363966883918</c:v>
                </c:pt>
                <c:pt idx="6">
                  <c:v>0.16605726179797387</c:v>
                </c:pt>
                <c:pt idx="7">
                  <c:v>0.15357459981359511</c:v>
                </c:pt>
                <c:pt idx="8">
                  <c:v>0.10613813883679768</c:v>
                </c:pt>
                <c:pt idx="9">
                  <c:v>0.108898992283101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685C-49D5-B52E-518FDE67D6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58201936"/>
        <c:axId val="1"/>
      </c:areaChart>
      <c:catAx>
        <c:axId val="8582019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858201936"/>
        <c:crosses val="max"/>
        <c:crossBetween val="midCat"/>
        <c:majorUnit val="5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229997212155006E-2"/>
          <c:y val="3.017241379310345E-2"/>
          <c:w val="0.9350432115974352"/>
          <c:h val="0.89716748768472909"/>
        </c:manualLayout>
      </c:layout>
      <c:scatterChart>
        <c:scatterStyle val="lineMarker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7A8F-4551-BF4E-60A3E6AC078D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7A8F-4551-BF4E-60A3E6AC078D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7A8F-4551-BF4E-60A3E6AC078D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7A8F-4551-BF4E-60A3E6AC078D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7A8F-4551-BF4E-60A3E6AC078D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A8F-4551-BF4E-60A3E6AC078D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A8F-4551-BF4E-60A3E6AC078D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A8F-4551-BF4E-60A3E6AC078D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7A8F-4551-BF4E-60A3E6AC078D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7A8F-4551-BF4E-60A3E6AC078D}"/>
              </c:ext>
            </c:extLst>
          </c:dPt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>
                  <c:v>0.58088280351598476</c:v>
                </c:pt>
                <c:pt idx="1">
                  <c:v>0.61623308901363116</c:v>
                </c:pt>
                <c:pt idx="2">
                  <c:v>0.58351935783551312</c:v>
                </c:pt>
                <c:pt idx="3">
                  <c:v>0.55764826485875396</c:v>
                </c:pt>
                <c:pt idx="4">
                  <c:v>0.56506286760670843</c:v>
                </c:pt>
                <c:pt idx="5">
                  <c:v>0.99696128100173065</c:v>
                </c:pt>
                <c:pt idx="6">
                  <c:v>1.005999528868849</c:v>
                </c:pt>
                <c:pt idx="7">
                  <c:v>1.0200510904984841</c:v>
                </c:pt>
                <c:pt idx="8">
                  <c:v>0.94598284460746318</c:v>
                </c:pt>
                <c:pt idx="9">
                  <c:v>1.0126674002667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7A8F-4551-BF4E-60A3E6AC07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1"/>
          <c:min val="201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1.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.00;&quot;-&quot;#,##0.0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"/>
        <c:crosses val="max"/>
        <c:crossBetween val="midCat"/>
        <c:majorUnit val="0.05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229997212155006E-2"/>
          <c:y val="3.017241379310345E-2"/>
          <c:w val="0.9350432115974352"/>
          <c:h val="0.89716748768472909"/>
        </c:manualLayout>
      </c:layout>
      <c:scatterChart>
        <c:scatterStyle val="lineMarker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8324-410D-BC93-675AAD79CDD5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324-410D-BC93-675AAD79CDD5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324-410D-BC93-675AAD79CDD5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324-410D-BC93-675AAD79CDD5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324-410D-BC93-675AAD79CDD5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324-410D-BC93-675AAD79CDD5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324-410D-BC93-675AAD79CDD5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324-410D-BC93-675AAD79CDD5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324-410D-BC93-675AAD79CDD5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6"/>
                </a:solidFill>
                <a:ln w="9525" cmpd="sng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324-410D-BC93-675AAD79CDD5}"/>
              </c:ext>
            </c:extLst>
          </c:dPt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>
                  <c:v>0.56077895401669842</c:v>
                </c:pt>
                <c:pt idx="1">
                  <c:v>0.5826059172106568</c:v>
                </c:pt>
                <c:pt idx="2">
                  <c:v>0.5699509380542318</c:v>
                </c:pt>
                <c:pt idx="3">
                  <c:v>0.57057073256056157</c:v>
                </c:pt>
                <c:pt idx="4">
                  <c:v>0.56360385467386254</c:v>
                </c:pt>
                <c:pt idx="5">
                  <c:v>1.17229601329138</c:v>
                </c:pt>
                <c:pt idx="6">
                  <c:v>1.2073222884494781</c:v>
                </c:pt>
                <c:pt idx="7">
                  <c:v>1.241632316243773</c:v>
                </c:pt>
                <c:pt idx="8">
                  <c:v>1.017392630300306</c:v>
                </c:pt>
                <c:pt idx="9">
                  <c:v>1.064901439269378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8324-410D-BC93-675AAD79CD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1"/>
          <c:min val="201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1.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.00;&quot;-&quot;#,##0.0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"/>
        <c:crosses val="max"/>
        <c:crossBetween val="midCat"/>
        <c:majorUnit val="0.05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580451602715932E-2"/>
          <c:y val="3.017241379310345E-2"/>
          <c:w val="0.93573345965577137"/>
          <c:h val="0.89716748768472909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>
                  <c:v>5.0843424146067644</c:v>
                </c:pt>
                <c:pt idx="1">
                  <c:v>5.1815178557369874</c:v>
                </c:pt>
                <c:pt idx="2">
                  <c:v>4.6333227082898496</c:v>
                </c:pt>
                <c:pt idx="3">
                  <c:v>4.0799955529983603</c:v>
                </c:pt>
                <c:pt idx="4">
                  <c:v>3.594369067388635</c:v>
                </c:pt>
                <c:pt idx="5">
                  <c:v>3.642309143687398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307-402C-93DE-A341E3269E64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3:$J$3</c:f>
              <c:numCache>
                <c:formatCode>General</c:formatCode>
                <c:ptCount val="10"/>
                <c:pt idx="0">
                  <c:v>4.1455627293304316</c:v>
                </c:pt>
                <c:pt idx="1">
                  <c:v>4.4888636887851847</c:v>
                </c:pt>
                <c:pt idx="2">
                  <c:v>4.1465701942926794</c:v>
                </c:pt>
                <c:pt idx="3">
                  <c:v>3.6875016195437809</c:v>
                </c:pt>
                <c:pt idx="4">
                  <c:v>3.6861399443395579</c:v>
                </c:pt>
                <c:pt idx="5">
                  <c:v>3.5898738268110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307-402C-93DE-A341E3269E64}"/>
            </c:ext>
          </c:extLst>
        </c:ser>
        <c:ser>
          <c:idx val="2"/>
          <c:order val="2"/>
          <c:spPr>
            <a:ln w="28575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4:$J$4</c:f>
              <c:numCache>
                <c:formatCode>General</c:formatCode>
                <c:ptCount val="10"/>
                <c:pt idx="0">
                  <c:v>0.51132752361115219</c:v>
                </c:pt>
                <c:pt idx="1">
                  <c:v>0.58128983468271722</c:v>
                </c:pt>
                <c:pt idx="2">
                  <c:v>0.55836691695388263</c:v>
                </c:pt>
                <c:pt idx="3">
                  <c:v>0.5336155458926306</c:v>
                </c:pt>
                <c:pt idx="4">
                  <c:v>0.55621797740557199</c:v>
                </c:pt>
                <c:pt idx="5">
                  <c:v>0.571727740406935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7307-402C-93DE-A341E3269E64}"/>
            </c:ext>
          </c:extLst>
        </c:ser>
        <c:ser>
          <c:idx val="3"/>
          <c:order val="3"/>
          <c:spPr>
            <a:ln w="28575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5:$J$5</c:f>
              <c:numCache>
                <c:formatCode>General</c:formatCode>
                <c:ptCount val="10"/>
                <c:pt idx="0">
                  <c:v>0.30013323717435642</c:v>
                </c:pt>
                <c:pt idx="1">
                  <c:v>0.34187730990055681</c:v>
                </c:pt>
                <c:pt idx="2">
                  <c:v>0.35682634752640319</c:v>
                </c:pt>
                <c:pt idx="3">
                  <c:v>0.34538318924012701</c:v>
                </c:pt>
                <c:pt idx="4">
                  <c:v>0.35966278140475771</c:v>
                </c:pt>
                <c:pt idx="5">
                  <c:v>0.409158971690642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7307-402C-93DE-A341E3269E64}"/>
            </c:ext>
          </c:extLst>
        </c:ser>
        <c:ser>
          <c:idx val="4"/>
          <c:order val="4"/>
          <c:spPr>
            <a:ln w="28575" cmpd="sng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6:$J$6</c:f>
              <c:numCache>
                <c:formatCode>General</c:formatCode>
                <c:ptCount val="10"/>
                <c:pt idx="5">
                  <c:v>3.3766850403759792</c:v>
                </c:pt>
                <c:pt idx="6">
                  <c:v>3.2630394839170909</c:v>
                </c:pt>
                <c:pt idx="7">
                  <c:v>3.0726550456458841</c:v>
                </c:pt>
                <c:pt idx="8">
                  <c:v>3.3063335810343149</c:v>
                </c:pt>
                <c:pt idx="9">
                  <c:v>3.443265589944053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7307-402C-93DE-A341E3269E64}"/>
            </c:ext>
          </c:extLst>
        </c:ser>
        <c:ser>
          <c:idx val="5"/>
          <c:order val="5"/>
          <c:spPr>
            <a:ln w="28575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7:$J$7</c:f>
              <c:numCache>
                <c:formatCode>General</c:formatCode>
                <c:ptCount val="10"/>
                <c:pt idx="5">
                  <c:v>3.5093224760758428</c:v>
                </c:pt>
                <c:pt idx="6">
                  <c:v>3.693285726748476</c:v>
                </c:pt>
                <c:pt idx="7">
                  <c:v>3.592387232926471</c:v>
                </c:pt>
                <c:pt idx="8">
                  <c:v>3.594239815438649</c:v>
                </c:pt>
                <c:pt idx="9">
                  <c:v>4.160381068183266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7307-402C-93DE-A341E3269E64}"/>
            </c:ext>
          </c:extLst>
        </c:ser>
        <c:ser>
          <c:idx val="6"/>
          <c:order val="6"/>
          <c:spPr>
            <a:ln w="28575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8:$J$8</c:f>
              <c:numCache>
                <c:formatCode>General</c:formatCode>
                <c:ptCount val="10"/>
                <c:pt idx="5">
                  <c:v>14.21917293691142</c:v>
                </c:pt>
                <c:pt idx="6">
                  <c:v>14.16159124919567</c:v>
                </c:pt>
                <c:pt idx="7">
                  <c:v>15.663799023525</c:v>
                </c:pt>
                <c:pt idx="8">
                  <c:v>17.065617881726538</c:v>
                </c:pt>
                <c:pt idx="9">
                  <c:v>16.5404543659562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7307-402C-93DE-A341E3269E64}"/>
            </c:ext>
          </c:extLst>
        </c:ser>
        <c:ser>
          <c:idx val="7"/>
          <c:order val="7"/>
          <c:spPr>
            <a:ln w="28575" cmpd="sng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9:$J$9</c:f>
              <c:numCache>
                <c:formatCode>General</c:formatCode>
                <c:ptCount val="10"/>
                <c:pt idx="5">
                  <c:v>4.5087110763332063</c:v>
                </c:pt>
                <c:pt idx="6">
                  <c:v>4.5681443271094473</c:v>
                </c:pt>
                <c:pt idx="7">
                  <c:v>4.2705964959990537</c:v>
                </c:pt>
                <c:pt idx="8">
                  <c:v>4.740826994978681</c:v>
                </c:pt>
                <c:pt idx="9">
                  <c:v>4.9497525607600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7307-402C-93DE-A341E3269E64}"/>
            </c:ext>
          </c:extLst>
        </c:ser>
        <c:ser>
          <c:idx val="8"/>
          <c:order val="8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10:$J$10</c:f>
              <c:numCache>
                <c:formatCode>General</c:formatCode>
                <c:ptCount val="10"/>
                <c:pt idx="5">
                  <c:v>3.589873826811091</c:v>
                </c:pt>
                <c:pt idx="6">
                  <c:v>3.4375175135048011</c:v>
                </c:pt>
                <c:pt idx="7">
                  <c:v>3.234862168791286</c:v>
                </c:pt>
                <c:pt idx="8">
                  <c:v>1.955296376585157</c:v>
                </c:pt>
                <c:pt idx="9">
                  <c:v>3.09657613937368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7307-402C-93DE-A341E3269E64}"/>
            </c:ext>
          </c:extLst>
        </c:ser>
        <c:ser>
          <c:idx val="9"/>
          <c:order val="9"/>
          <c:spPr>
            <a:ln w="28575" cmpd="sng" algn="ctr">
              <a:solidFill>
                <a:srgbClr val="6F8DB9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11:$J$11</c:f>
              <c:numCache>
                <c:formatCode>General</c:formatCode>
                <c:ptCount val="10"/>
                <c:pt idx="5">
                  <c:v>1.2010101202818859</c:v>
                </c:pt>
                <c:pt idx="6">
                  <c:v>1.384538400349544</c:v>
                </c:pt>
                <c:pt idx="7">
                  <c:v>1.4707202089338649</c:v>
                </c:pt>
                <c:pt idx="8">
                  <c:v>1.4762473697055929</c:v>
                </c:pt>
                <c:pt idx="9">
                  <c:v>1.4567860059794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7307-402C-93DE-A341E3269E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1"/>
          <c:min val="201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18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"/>
        <c:crosses val="max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494962216624686E-2"/>
          <c:y val="3.017241379310345E-2"/>
          <c:w val="0.93293450881612094"/>
          <c:h val="0.89716748768472909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>
                  <c:v>1.4345167922627551</c:v>
                </c:pt>
                <c:pt idx="1">
                  <c:v>1.57188349262623</c:v>
                </c:pt>
                <c:pt idx="2">
                  <c:v>1.948909491695527</c:v>
                </c:pt>
                <c:pt idx="3">
                  <c:v>1.5691045506296519</c:v>
                </c:pt>
                <c:pt idx="4">
                  <c:v>1.5863934158089119</c:v>
                </c:pt>
                <c:pt idx="5">
                  <c:v>1.374106131282945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7F3-4C4E-91B8-CA2E368800F8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3:$J$3</c:f>
              <c:numCache>
                <c:formatCode>General</c:formatCode>
                <c:ptCount val="10"/>
                <c:pt idx="0">
                  <c:v>0.31706326976251992</c:v>
                </c:pt>
                <c:pt idx="1">
                  <c:v>0.34521895973404132</c:v>
                </c:pt>
                <c:pt idx="2">
                  <c:v>0.37613344315735708</c:v>
                </c:pt>
                <c:pt idx="3">
                  <c:v>0.41526062076744702</c:v>
                </c:pt>
                <c:pt idx="4">
                  <c:v>0.38990649228826663</c:v>
                </c:pt>
                <c:pt idx="5">
                  <c:v>0.3465317251318935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7F3-4C4E-91B8-CA2E368800F8}"/>
            </c:ext>
          </c:extLst>
        </c:ser>
        <c:ser>
          <c:idx val="2"/>
          <c:order val="2"/>
          <c:spPr>
            <a:ln w="28575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4:$J$4</c:f>
              <c:numCache>
                <c:formatCode>General</c:formatCode>
                <c:ptCount val="10"/>
                <c:pt idx="0">
                  <c:v>0.67782095617514504</c:v>
                </c:pt>
                <c:pt idx="1">
                  <c:v>0.6686883719563258</c:v>
                </c:pt>
                <c:pt idx="2">
                  <c:v>0.63147107069584285</c:v>
                </c:pt>
                <c:pt idx="3">
                  <c:v>0.5482461459530138</c:v>
                </c:pt>
                <c:pt idx="4">
                  <c:v>0.51823292700773094</c:v>
                </c:pt>
                <c:pt idx="5">
                  <c:v>0.4241702002364373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E7F3-4C4E-91B8-CA2E368800F8}"/>
            </c:ext>
          </c:extLst>
        </c:ser>
        <c:ser>
          <c:idx val="3"/>
          <c:order val="3"/>
          <c:spPr>
            <a:ln w="28575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5:$J$5</c:f>
              <c:numCache>
                <c:formatCode>General</c:formatCode>
                <c:ptCount val="10"/>
                <c:pt idx="0">
                  <c:v>0.57802770929971614</c:v>
                </c:pt>
                <c:pt idx="1">
                  <c:v>0.57378780139767116</c:v>
                </c:pt>
                <c:pt idx="2">
                  <c:v>0.61416754608183866</c:v>
                </c:pt>
                <c:pt idx="3">
                  <c:v>0.65756193365943183</c:v>
                </c:pt>
                <c:pt idx="4">
                  <c:v>0.62553315388809727</c:v>
                </c:pt>
                <c:pt idx="5">
                  <c:v>0.443920223996673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E7F3-4C4E-91B8-CA2E368800F8}"/>
            </c:ext>
          </c:extLst>
        </c:ser>
        <c:ser>
          <c:idx val="4"/>
          <c:order val="4"/>
          <c:spPr>
            <a:ln w="28575" cmpd="sng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6:$J$6</c:f>
              <c:numCache>
                <c:formatCode>General</c:formatCode>
                <c:ptCount val="10"/>
                <c:pt idx="5">
                  <c:v>3.6052788895224901</c:v>
                </c:pt>
                <c:pt idx="6">
                  <c:v>3.9818882279213632</c:v>
                </c:pt>
                <c:pt idx="7">
                  <c:v>4.5131499183025952</c:v>
                </c:pt>
                <c:pt idx="8">
                  <c:v>3.6689586478463658</c:v>
                </c:pt>
                <c:pt idx="9">
                  <c:v>3.858705237318387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E7F3-4C4E-91B8-CA2E368800F8}"/>
            </c:ext>
          </c:extLst>
        </c:ser>
        <c:ser>
          <c:idx val="5"/>
          <c:order val="5"/>
          <c:spPr>
            <a:ln w="28575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7:$J$7</c:f>
              <c:numCache>
                <c:formatCode>General</c:formatCode>
                <c:ptCount val="10"/>
                <c:pt idx="5">
                  <c:v>4.1086135221407076</c:v>
                </c:pt>
                <c:pt idx="6">
                  <c:v>4.4408198872819078</c:v>
                </c:pt>
                <c:pt idx="7">
                  <c:v>4.5866122506986091</c:v>
                </c:pt>
                <c:pt idx="8">
                  <c:v>3.3423154898793421</c:v>
                </c:pt>
                <c:pt idx="9">
                  <c:v>4.014907782530838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E7F3-4C4E-91B8-CA2E368800F8}"/>
            </c:ext>
          </c:extLst>
        </c:ser>
        <c:ser>
          <c:idx val="6"/>
          <c:order val="6"/>
          <c:spPr>
            <a:ln w="28575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8:$J$8</c:f>
              <c:numCache>
                <c:formatCode>General</c:formatCode>
                <c:ptCount val="10"/>
                <c:pt idx="5">
                  <c:v>0.31866875426708913</c:v>
                </c:pt>
                <c:pt idx="6">
                  <c:v>0.37486665849028789</c:v>
                </c:pt>
                <c:pt idx="7">
                  <c:v>0.40054558384469802</c:v>
                </c:pt>
                <c:pt idx="8">
                  <c:v>0.3239785426456735</c:v>
                </c:pt>
                <c:pt idx="9">
                  <c:v>0.307979179878914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E7F3-4C4E-91B8-CA2E368800F8}"/>
            </c:ext>
          </c:extLst>
        </c:ser>
        <c:ser>
          <c:idx val="7"/>
          <c:order val="7"/>
          <c:spPr>
            <a:ln w="28575" cmpd="sng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9:$J$9</c:f>
              <c:numCache>
                <c:formatCode>General</c:formatCode>
                <c:ptCount val="10"/>
                <c:pt idx="5">
                  <c:v>1.0888496524887401</c:v>
                </c:pt>
                <c:pt idx="6">
                  <c:v>1.121817493030062</c:v>
                </c:pt>
                <c:pt idx="7">
                  <c:v>1.1877640018899951</c:v>
                </c:pt>
                <c:pt idx="8">
                  <c:v>0.96128766240750929</c:v>
                </c:pt>
                <c:pt idx="9">
                  <c:v>0.997305838141741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E7F3-4C4E-91B8-CA2E368800F8}"/>
            </c:ext>
          </c:extLst>
        </c:ser>
        <c:ser>
          <c:idx val="8"/>
          <c:order val="8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10:$J$10</c:f>
              <c:numCache>
                <c:formatCode>General</c:formatCode>
                <c:ptCount val="10"/>
                <c:pt idx="5">
                  <c:v>0.34653172513189351</c:v>
                </c:pt>
                <c:pt idx="6">
                  <c:v>0.32856478942770612</c:v>
                </c:pt>
                <c:pt idx="7">
                  <c:v>0.29779205456570979</c:v>
                </c:pt>
                <c:pt idx="8">
                  <c:v>0.14787319038219379</c:v>
                </c:pt>
                <c:pt idx="9">
                  <c:v>0.2453952265863466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E7F3-4C4E-91B8-CA2E368800F8}"/>
            </c:ext>
          </c:extLst>
        </c:ser>
        <c:ser>
          <c:idx val="9"/>
          <c:order val="9"/>
          <c:spPr>
            <a:ln w="28575" cmpd="sng" algn="ctr">
              <a:solidFill>
                <a:srgbClr val="6F8DB9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11:$J$11</c:f>
              <c:numCache>
                <c:formatCode>General</c:formatCode>
                <c:ptCount val="10"/>
                <c:pt idx="5">
                  <c:v>0.30851008396229079</c:v>
                </c:pt>
                <c:pt idx="6">
                  <c:v>0.31833496253737181</c:v>
                </c:pt>
                <c:pt idx="7">
                  <c:v>0.3051061624312324</c:v>
                </c:pt>
                <c:pt idx="8">
                  <c:v>0.27461734451497011</c:v>
                </c:pt>
                <c:pt idx="9">
                  <c:v>0.2482711445860862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E7F3-4C4E-91B8-CA2E368800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1"/>
          <c:min val="201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4.600000000000000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"/>
        <c:crosses val="max"/>
        <c:crossBetween val="midCat"/>
        <c:majorUnit val="0.2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326048434731244E-2"/>
          <c:y val="5.297473512632437E-2"/>
          <c:w val="0.90637920850561138"/>
          <c:h val="0.81662591687041564"/>
        </c:manualLayout>
      </c:layout>
      <c:scatterChart>
        <c:scatterStyle val="lineMarker"/>
        <c:varyColors val="0"/>
        <c:ser>
          <c:idx val="0"/>
          <c:order val="0"/>
          <c:spPr>
            <a:ln w="38100" cmpd="sng" algn="ctr">
              <a:solidFill>
                <a:srgbClr val="F89D56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>
                  <c:v>44057782.968999997</c:v>
                </c:pt>
                <c:pt idx="1">
                  <c:v>49339728.566</c:v>
                </c:pt>
                <c:pt idx="2">
                  <c:v>52004845.452</c:v>
                </c:pt>
                <c:pt idx="3">
                  <c:v>46276005.862999998</c:v>
                </c:pt>
                <c:pt idx="4">
                  <c:v>45864868.027999997</c:v>
                </c:pt>
                <c:pt idx="5">
                  <c:v>46242838.098999999</c:v>
                </c:pt>
                <c:pt idx="6">
                  <c:v>47511100.943000004</c:v>
                </c:pt>
                <c:pt idx="7">
                  <c:v>47759685.836000003</c:v>
                </c:pt>
                <c:pt idx="8">
                  <c:v>44068860.835000001</c:v>
                </c:pt>
                <c:pt idx="9">
                  <c:v>55372204.410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C71-434A-9354-F88E480701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scatterChart>
        <c:scatterStyle val="lineMarker"/>
        <c:varyColors val="0"/>
        <c:ser>
          <c:idx val="1"/>
          <c:order val="1"/>
          <c:spPr>
            <a:ln w="38100" cmpd="sng" algn="ctr">
              <a:solidFill>
                <a:srgbClr val="131737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3:$J$3</c:f>
              <c:numCache>
                <c:formatCode>General</c:formatCode>
                <c:ptCount val="10"/>
                <c:pt idx="0">
                  <c:v>11.893601078680378</c:v>
                </c:pt>
                <c:pt idx="1">
                  <c:v>12.189702250411043</c:v>
                </c:pt>
                <c:pt idx="2">
                  <c:v>12.845134012391227</c:v>
                </c:pt>
                <c:pt idx="3">
                  <c:v>12.803760956941272</c:v>
                </c:pt>
                <c:pt idx="4">
                  <c:v>12.793122466292111</c:v>
                </c:pt>
                <c:pt idx="5">
                  <c:v>11.772682053269675</c:v>
                </c:pt>
                <c:pt idx="6">
                  <c:v>11.920215041813339</c:v>
                </c:pt>
                <c:pt idx="7">
                  <c:v>12.403424153535312</c:v>
                </c:pt>
                <c:pt idx="8">
                  <c:v>11.344597639858216</c:v>
                </c:pt>
                <c:pt idx="9">
                  <c:v>11.4994012307880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C71-434A-9354-F88E480701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"/>
        <c:axId val="7"/>
      </c:scatterChart>
      <c:valAx>
        <c:axId val="4"/>
        <c:scaling>
          <c:orientation val="minMax"/>
          <c:max val="2021"/>
          <c:min val="201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Proxima Nova"/>
                <a:ea typeface="Proxima Nova"/>
                <a:cs typeface="Proxima Nova"/>
                <a:sym typeface="Proxima Nova"/>
              </a:defRPr>
            </a:pPr>
            <a:endParaRPr lang="tr-TR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60000000"/>
          <c:min val="3500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Proxima Nova"/>
                <a:ea typeface="+mn-ea"/>
                <a:cs typeface="+mn-cs"/>
              </a:defRPr>
            </a:pPr>
            <a:endParaRPr lang="tr-TR"/>
          </a:p>
        </c:txPr>
        <c:crossAx val="4"/>
        <c:crosses val="min"/>
        <c:crossBetween val="midCat"/>
        <c:majorUnit val="5000000"/>
      </c:valAx>
      <c:valAx>
        <c:axId val="6"/>
        <c:scaling>
          <c:orientation val="minMax"/>
          <c:max val="2021"/>
          <c:min val="2012"/>
        </c:scaling>
        <c:delete val="1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crossAx val="7"/>
        <c:crosses val="min"/>
        <c:crossBetween val="midCat"/>
        <c:majorUnit val="1"/>
      </c:valAx>
      <c:valAx>
        <c:axId val="7"/>
        <c:scaling>
          <c:orientation val="minMax"/>
          <c:max val="15"/>
          <c:min val="7.5"/>
        </c:scaling>
        <c:delete val="0"/>
        <c:axPos val="r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rgbClr val="131737"/>
                </a:solidFill>
                <a:latin typeface="Proxima Nova"/>
                <a:ea typeface="+mn-ea"/>
                <a:cs typeface="+mn-cs"/>
              </a:defRPr>
            </a:pPr>
            <a:endParaRPr lang="tr-TR"/>
          </a:p>
        </c:txPr>
        <c:crossAx val="6"/>
        <c:crosses val="max"/>
        <c:crossBetween val="midCat"/>
        <c:majorUnit val="2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786088257292448E-3"/>
          <c:y val="4.0957781978575927E-2"/>
          <c:w val="0.94689603590127147"/>
          <c:h val="0.91808443604284817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val>
            <c:numRef>
              <c:f>Sheet1!$A$1:$J$1</c:f>
              <c:numCache>
                <c:formatCode>General</c:formatCode>
                <c:ptCount val="10"/>
                <c:pt idx="0">
                  <c:v>11.89360107868038</c:v>
                </c:pt>
                <c:pt idx="1">
                  <c:v>12.18970225041104</c:v>
                </c:pt>
                <c:pt idx="2">
                  <c:v>12.845134012391229</c:v>
                </c:pt>
                <c:pt idx="3">
                  <c:v>12.80376095694127</c:v>
                </c:pt>
                <c:pt idx="4">
                  <c:v>12.793122466292109</c:v>
                </c:pt>
                <c:pt idx="5">
                  <c:v>11.772682053269669</c:v>
                </c:pt>
                <c:pt idx="6">
                  <c:v>11.920215041813339</c:v>
                </c:pt>
                <c:pt idx="7">
                  <c:v>12.40342415353531</c:v>
                </c:pt>
                <c:pt idx="8">
                  <c:v>11.34459763985822</c:v>
                </c:pt>
                <c:pt idx="9">
                  <c:v>11.4994012307880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471C-4A31-B771-957852B221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72383264"/>
        <c:axId val="1"/>
      </c:lineChart>
      <c:catAx>
        <c:axId val="4723832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72383264"/>
        <c:crosses val="max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820640348150449E-3"/>
          <c:y val="7.9950289975144986E-2"/>
          <c:w val="0.98383587193036992"/>
          <c:h val="0.8400994200497100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31737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solidFill>
                <a:srgbClr val="F89D5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A4A-434E-89A9-D7A759B65F59}"/>
              </c:ext>
            </c:extLst>
          </c:dPt>
          <c:dPt>
            <c:idx val="9"/>
            <c:invertIfNegative val="0"/>
            <c:bubble3D val="0"/>
            <c:spPr>
              <a:solidFill>
                <a:srgbClr val="F89D5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A4A-434E-89A9-D7A759B65F59}"/>
              </c:ext>
            </c:extLst>
          </c:dPt>
          <c:dLbls>
            <c:dLbl>
              <c:idx val="0"/>
              <c:layout>
                <c:manualLayout>
                  <c:x val="0"/>
                  <c:y val="-1.242750621375310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A4A-434E-89A9-D7A759B65F59}"/>
                </c:ext>
              </c:extLst>
            </c:dLbl>
            <c:dLbl>
              <c:idx val="1"/>
              <c:layout>
                <c:manualLayout>
                  <c:x val="0"/>
                  <c:y val="-1.6570008285004142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A4A-434E-89A9-D7A759B65F59}"/>
                </c:ext>
              </c:extLst>
            </c:dLbl>
            <c:dLbl>
              <c:idx val="2"/>
              <c:layout>
                <c:manualLayout>
                  <c:x val="0"/>
                  <c:y val="-1.242750621375310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A4A-434E-89A9-D7A759B65F59}"/>
                </c:ext>
              </c:extLst>
            </c:dLbl>
            <c:dLbl>
              <c:idx val="3"/>
              <c:layout>
                <c:manualLayout>
                  <c:x val="0"/>
                  <c:y val="-1.242750621375310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A4A-434E-89A9-D7A759B65F59}"/>
                </c:ext>
              </c:extLst>
            </c:dLbl>
            <c:dLbl>
              <c:idx val="4"/>
              <c:layout>
                <c:manualLayout>
                  <c:x val="0"/>
                  <c:y val="-1.6570008285004142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A4A-434E-89A9-D7A759B65F59}"/>
                </c:ext>
              </c:extLst>
            </c:dLbl>
            <c:dLbl>
              <c:idx val="5"/>
              <c:layout>
                <c:manualLayout>
                  <c:x val="0"/>
                  <c:y val="-1.242750621375310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A4A-434E-89A9-D7A759B65F59}"/>
                </c:ext>
              </c:extLst>
            </c:dLbl>
            <c:dLbl>
              <c:idx val="6"/>
              <c:layout>
                <c:manualLayout>
                  <c:x val="0"/>
                  <c:y val="-1.242750621375310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A4A-434E-89A9-D7A759B65F59}"/>
                </c:ext>
              </c:extLst>
            </c:dLbl>
            <c:dLbl>
              <c:idx val="7"/>
              <c:layout>
                <c:manualLayout>
                  <c:x val="0"/>
                  <c:y val="-1.242750621375310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A4A-434E-89A9-D7A759B65F59}"/>
                </c:ext>
              </c:extLst>
            </c:dLbl>
            <c:dLbl>
              <c:idx val="8"/>
              <c:layout>
                <c:manualLayout>
                  <c:x val="0"/>
                  <c:y val="-1.242750621375310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A4A-434E-89A9-D7A759B65F59}"/>
                </c:ext>
              </c:extLst>
            </c:dLbl>
            <c:dLbl>
              <c:idx val="9"/>
              <c:layout>
                <c:manualLayout>
                  <c:x val="0"/>
                  <c:y val="-1.242750621375310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A4A-434E-89A9-D7A759B65F5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11.89360107868038</c:v>
                </c:pt>
                <c:pt idx="1">
                  <c:v>12.18970225041104</c:v>
                </c:pt>
                <c:pt idx="2">
                  <c:v>12.845134012391229</c:v>
                </c:pt>
                <c:pt idx="3">
                  <c:v>12.80376095694127</c:v>
                </c:pt>
                <c:pt idx="4">
                  <c:v>12.793122466292109</c:v>
                </c:pt>
                <c:pt idx="5">
                  <c:v>11.772682053269669</c:v>
                </c:pt>
                <c:pt idx="6">
                  <c:v>11.920215041813339</c:v>
                </c:pt>
                <c:pt idx="7">
                  <c:v>12.40342415353531</c:v>
                </c:pt>
                <c:pt idx="8">
                  <c:v>11.34459763985822</c:v>
                </c:pt>
                <c:pt idx="9">
                  <c:v>11.499401230788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A4A-434E-89A9-D7A759B65F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44136712"/>
        <c:axId val="1"/>
      </c:barChart>
      <c:catAx>
        <c:axId val="10441367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.5"/>
          <c:min val="6"/>
        </c:scaling>
        <c:delete val="1"/>
        <c:axPos val="r"/>
        <c:numFmt formatCode="General" sourceLinked="1"/>
        <c:majorTickMark val="out"/>
        <c:minorTickMark val="none"/>
        <c:tickLblPos val="nextTo"/>
        <c:crossAx val="104413671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16157267900704E-3"/>
          <c:y val="8.6898395721925134E-2"/>
          <c:w val="0.94906012340364476"/>
          <c:h val="0.8262032085561497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val>
            <c:numRef>
              <c:f>Sheet1!$A$1:$J$1</c:f>
              <c:numCache>
                <c:formatCode>General</c:formatCode>
                <c:ptCount val="10"/>
                <c:pt idx="0">
                  <c:v>18.78870221790449</c:v>
                </c:pt>
                <c:pt idx="1">
                  <c:v>19.736116670703531</c:v>
                </c:pt>
                <c:pt idx="2">
                  <c:v>20.09000099531886</c:v>
                </c:pt>
                <c:pt idx="3">
                  <c:v>19.968089050626809</c:v>
                </c:pt>
                <c:pt idx="4">
                  <c:v>19.927004715848351</c:v>
                </c:pt>
                <c:pt idx="5">
                  <c:v>18.85367236837812</c:v>
                </c:pt>
                <c:pt idx="6">
                  <c:v>18.24143356721229</c:v>
                </c:pt>
                <c:pt idx="7">
                  <c:v>18.442103422155739</c:v>
                </c:pt>
                <c:pt idx="8">
                  <c:v>18.57366408137765</c:v>
                </c:pt>
                <c:pt idx="9">
                  <c:v>17.89623358892065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B7E3-4060-913E-DA02F62358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48196520"/>
        <c:axId val="1"/>
      </c:lineChart>
      <c:catAx>
        <c:axId val="648196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648196520"/>
        <c:crosses val="max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16157267900704E-3"/>
          <c:y val="8.5751978891820582E-2"/>
          <c:w val="0.94906012340364476"/>
          <c:h val="0.82849604221635886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val>
            <c:numRef>
              <c:f>Sheet1!$A$1:$J$1</c:f>
              <c:numCache>
                <c:formatCode>General</c:formatCode>
                <c:ptCount val="10"/>
                <c:pt idx="0">
                  <c:v>6.6406173000057684</c:v>
                </c:pt>
                <c:pt idx="1">
                  <c:v>6.7308362148967884</c:v>
                </c:pt>
                <c:pt idx="2">
                  <c:v>7.2672155958346876</c:v>
                </c:pt>
                <c:pt idx="3">
                  <c:v>7.0291230178517461</c:v>
                </c:pt>
                <c:pt idx="4">
                  <c:v>6.9098854318418983</c:v>
                </c:pt>
                <c:pt idx="5">
                  <c:v>6.3563664948956244</c:v>
                </c:pt>
                <c:pt idx="6">
                  <c:v>6.2571493936886986</c:v>
                </c:pt>
                <c:pt idx="7">
                  <c:v>6.4801034695264947</c:v>
                </c:pt>
                <c:pt idx="8">
                  <c:v>5.1425387561439422</c:v>
                </c:pt>
                <c:pt idx="9">
                  <c:v>5.491299664332787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D0E7-4F1E-8E87-585BA8E376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96339400"/>
        <c:axId val="1"/>
      </c:lineChart>
      <c:catAx>
        <c:axId val="696339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696339400"/>
        <c:crosses val="max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120314290391234E-3"/>
          <c:y val="4.1401273885350316E-2"/>
          <c:w val="0.98297593714192177"/>
          <c:h val="0.9171974522292993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160179713.31900001</c:v>
                </c:pt>
                <c:pt idx="1">
                  <c:v>169897259.215</c:v>
                </c:pt>
                <c:pt idx="2">
                  <c:v>176114435.222</c:v>
                </c:pt>
                <c:pt idx="3">
                  <c:v>161303390.877</c:v>
                </c:pt>
                <c:pt idx="4">
                  <c:v>162033589.39500001</c:v>
                </c:pt>
                <c:pt idx="5">
                  <c:v>170238045.59599999</c:v>
                </c:pt>
                <c:pt idx="6">
                  <c:v>188343441.39899999</c:v>
                </c:pt>
                <c:pt idx="7">
                  <c:v>190669538.46900001</c:v>
                </c:pt>
                <c:pt idx="8">
                  <c:v>179376774.61500001</c:v>
                </c:pt>
                <c:pt idx="9">
                  <c:v>233216566.115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42-4DBF-9D95-0A2D29B973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00718056"/>
        <c:axId val="1"/>
      </c:barChart>
      <c:catAx>
        <c:axId val="7007180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000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tr-TR"/>
          </a:p>
        </c:txPr>
        <c:crossAx val="700718056"/>
        <c:crosses val="max"/>
        <c:crossBetween val="between"/>
        <c:majorUnit val="5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120314290391234E-3"/>
          <c:y val="3.6312849162011177E-2"/>
          <c:w val="0.98297593714192177"/>
          <c:h val="0.9273743016759776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210252947.71900001</c:v>
                </c:pt>
                <c:pt idx="1">
                  <c:v>234868399.14500001</c:v>
                </c:pt>
                <c:pt idx="2">
                  <c:v>228745844.17899999</c:v>
                </c:pt>
                <c:pt idx="3">
                  <c:v>200121709.28400001</c:v>
                </c:pt>
                <c:pt idx="4">
                  <c:v>196478323.14899999</c:v>
                </c:pt>
                <c:pt idx="5">
                  <c:v>222559771.331</c:v>
                </c:pt>
                <c:pt idx="6">
                  <c:v>210232429.727</c:v>
                </c:pt>
                <c:pt idx="7">
                  <c:v>194382889.35100001</c:v>
                </c:pt>
                <c:pt idx="8">
                  <c:v>209080024.24200001</c:v>
                </c:pt>
                <c:pt idx="9">
                  <c:v>248305934.923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3A-4739-B12A-FAA44825B0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52051800"/>
        <c:axId val="1"/>
      </c:barChart>
      <c:catAx>
        <c:axId val="8520518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000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tr-TR"/>
          </a:p>
        </c:txPr>
        <c:crossAx val="852051800"/>
        <c:crosses val="max"/>
        <c:crossBetween val="between"/>
        <c:majorUnit val="5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867341202922993E-2"/>
          <c:y val="4.0148239654107472E-2"/>
          <c:w val="0.91975829117481733"/>
          <c:h val="0.86102532427424339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CA37-4985-BCDC-BA4BBA41614F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CA37-4985-BCDC-BA4BBA41614F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A37-4985-BCDC-BA4BBA41614F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A37-4985-BCDC-BA4BBA41614F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CA37-4985-BCDC-BA4BBA41614F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A37-4985-BCDC-BA4BBA41614F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CA37-4985-BCDC-BA4BBA41614F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CA37-4985-BCDC-BA4BBA41614F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A37-4985-BCDC-BA4BBA41614F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A37-4985-BCDC-BA4BBA41614F}"/>
              </c:ext>
            </c:extLst>
          </c:dPt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>
                  <c:v>6.0621813936177809</c:v>
                </c:pt>
                <c:pt idx="1">
                  <c:v>6.2677245573582754</c:v>
                </c:pt>
                <c:pt idx="2">
                  <c:v>6.5512059856875791</c:v>
                </c:pt>
                <c:pt idx="3">
                  <c:v>7.0272873112472682</c:v>
                </c:pt>
                <c:pt idx="4">
                  <c:v>7.134962749745231</c:v>
                </c:pt>
                <c:pt idx="5">
                  <c:v>7.0129839392599829</c:v>
                </c:pt>
                <c:pt idx="6">
                  <c:v>6.6456512046926637</c:v>
                </c:pt>
                <c:pt idx="7">
                  <c:v>6.8029426456164366</c:v>
                </c:pt>
                <c:pt idx="8">
                  <c:v>6.8965495538371524</c:v>
                </c:pt>
                <c:pt idx="9">
                  <c:v>6.332721526110436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CA37-4985-BCDC-BA4BBA4161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1"/>
          <c:min val="201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8"/>
          <c:min val="5"/>
        </c:scaling>
        <c:delete val="0"/>
        <c:axPos val="r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"/>
        <c:crosses val="max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" name="Google Shape;3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" name="Google Shape;4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iriş">
  <p:cSld name="Giriş"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7;p10"/>
          <p:cNvSpPr/>
          <p:nvPr/>
        </p:nvSpPr>
        <p:spPr>
          <a:xfrm>
            <a:off x="-12095" y="0"/>
            <a:ext cx="12204095" cy="6880981"/>
          </a:xfrm>
          <a:custGeom>
            <a:avLst/>
            <a:gdLst/>
            <a:ahLst/>
            <a:cxnLst/>
            <a:rect l="l" t="t" r="r" b="b"/>
            <a:pathLst>
              <a:path w="18288000" h="10287000" extrusionOk="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 t="-964" b="-17254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Google Shape;8;p10"/>
          <p:cNvSpPr/>
          <p:nvPr/>
        </p:nvSpPr>
        <p:spPr>
          <a:xfrm>
            <a:off x="10091145" y="5184371"/>
            <a:ext cx="1694163" cy="1351513"/>
          </a:xfrm>
          <a:custGeom>
            <a:avLst/>
            <a:gdLst/>
            <a:ahLst/>
            <a:cxnLst/>
            <a:rect l="l" t="t" r="r" b="b"/>
            <a:pathLst>
              <a:path w="2541245" h="2027269" extrusionOk="0">
                <a:moveTo>
                  <a:pt x="0" y="0"/>
                </a:moveTo>
                <a:lnTo>
                  <a:pt x="2541245" y="0"/>
                </a:lnTo>
                <a:lnTo>
                  <a:pt x="2541245" y="2027268"/>
                </a:lnTo>
                <a:lnTo>
                  <a:pt x="0" y="2027268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11768" t="-14070" r="-11768" b="-3845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9" name="Google Shape;9;p10"/>
          <p:cNvGrpSpPr/>
          <p:nvPr/>
        </p:nvGrpSpPr>
        <p:grpSpPr>
          <a:xfrm>
            <a:off x="0" y="1838216"/>
            <a:ext cx="4539898" cy="2892246"/>
            <a:chOff x="0" y="-114300"/>
            <a:chExt cx="1793540" cy="1142616"/>
          </a:xfrm>
        </p:grpSpPr>
        <p:sp>
          <p:nvSpPr>
            <p:cNvPr id="10" name="Google Shape;10;p10"/>
            <p:cNvSpPr/>
            <p:nvPr/>
          </p:nvSpPr>
          <p:spPr>
            <a:xfrm>
              <a:off x="0" y="0"/>
              <a:ext cx="1793540" cy="1028316"/>
            </a:xfrm>
            <a:custGeom>
              <a:avLst/>
              <a:gdLst/>
              <a:ahLst/>
              <a:cxnLst/>
              <a:rect l="l" t="t" r="r" b="b"/>
              <a:pathLst>
                <a:path w="1793540" h="1028316" extrusionOk="0">
                  <a:moveTo>
                    <a:pt x="0" y="0"/>
                  </a:moveTo>
                  <a:lnTo>
                    <a:pt x="1793540" y="0"/>
                  </a:lnTo>
                  <a:lnTo>
                    <a:pt x="1793540" y="1028316"/>
                  </a:lnTo>
                  <a:lnTo>
                    <a:pt x="0" y="1028316"/>
                  </a:lnTo>
                  <a:close/>
                </a:path>
              </a:pathLst>
            </a:custGeom>
            <a:solidFill>
              <a:srgbClr val="13173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rgbClr val="F89D56"/>
                </a:solidFill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  <p:sp>
          <p:nvSpPr>
            <p:cNvPr id="11" name="Google Shape;11;p10"/>
            <p:cNvSpPr txBox="1"/>
            <p:nvPr/>
          </p:nvSpPr>
          <p:spPr>
            <a:xfrm>
              <a:off x="0" y="-114300"/>
              <a:ext cx="1793540" cy="114261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31325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rgbClr val="F89D56"/>
                </a:solidFill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</p:grpSp>
      <p:sp>
        <p:nvSpPr>
          <p:cNvPr id="12" name="Google Shape;12;p10"/>
          <p:cNvSpPr txBox="1">
            <a:spLocks noGrp="1"/>
          </p:cNvSpPr>
          <p:nvPr>
            <p:ph type="title"/>
          </p:nvPr>
        </p:nvSpPr>
        <p:spPr>
          <a:xfrm>
            <a:off x="176264" y="2493493"/>
            <a:ext cx="4187371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39979"/>
              </a:lnSpc>
              <a:spcBef>
                <a:spcPts val="0"/>
              </a:spcBef>
              <a:spcAft>
                <a:spcPts val="0"/>
              </a:spcAft>
              <a:buClr>
                <a:srgbClr val="F89D56"/>
              </a:buClr>
              <a:buSzPts val="1961"/>
              <a:buFont typeface="Proxima Nova"/>
              <a:buNone/>
              <a:defRPr sz="1961" b="0" i="0" u="none" strike="noStrike" cap="none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3" name="Google Shape;13;p10"/>
          <p:cNvSpPr txBox="1">
            <a:spLocks noGrp="1"/>
          </p:cNvSpPr>
          <p:nvPr>
            <p:ph type="body" idx="1"/>
          </p:nvPr>
        </p:nvSpPr>
        <p:spPr>
          <a:xfrm>
            <a:off x="198035" y="3987800"/>
            <a:ext cx="4165600" cy="505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 rtl="0">
              <a:spcBef>
                <a:spcPts val="267"/>
              </a:spcBef>
              <a:spcAft>
                <a:spcPts val="0"/>
              </a:spcAft>
              <a:buClr>
                <a:srgbClr val="F89D56"/>
              </a:buClr>
              <a:buSzPts val="1333"/>
              <a:buFont typeface="Arial"/>
              <a:buNone/>
              <a:defRPr sz="1333" b="0" i="0" u="none" strike="noStrike" cap="none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defRPr>
            </a:lvl1pPr>
            <a:lvl2pPr marL="914400" marR="0" lvl="1" indent="-228600" algn="l" rtl="0">
              <a:spcBef>
                <a:spcPts val="24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213"/>
              </a:spcBef>
              <a:spcAft>
                <a:spcPts val="0"/>
              </a:spcAft>
              <a:buClr>
                <a:srgbClr val="888888"/>
              </a:buClr>
              <a:buSzPts val="1067"/>
              <a:buFont typeface="Arial"/>
              <a:buNone/>
              <a:defRPr sz="1067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İçindekiler">
  <p:cSld name="İçindekil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11"/>
          <p:cNvSpPr/>
          <p:nvPr/>
        </p:nvSpPr>
        <p:spPr>
          <a:xfrm>
            <a:off x="605802" y="771273"/>
            <a:ext cx="167379" cy="167650"/>
          </a:xfrm>
          <a:custGeom>
            <a:avLst/>
            <a:gdLst/>
            <a:ahLst/>
            <a:cxnLst/>
            <a:rect l="l" t="t" r="r" b="b"/>
            <a:pathLst>
              <a:path w="251069" h="251475" extrusionOk="0">
                <a:moveTo>
                  <a:pt x="0" y="0"/>
                </a:moveTo>
                <a:lnTo>
                  <a:pt x="251069" y="0"/>
                </a:lnTo>
                <a:lnTo>
                  <a:pt x="251069" y="251475"/>
                </a:lnTo>
                <a:lnTo>
                  <a:pt x="0" y="251475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11"/>
          <p:cNvSpPr txBox="1"/>
          <p:nvPr/>
        </p:nvSpPr>
        <p:spPr>
          <a:xfrm>
            <a:off x="928130" y="686211"/>
            <a:ext cx="2233712" cy="4059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40021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84" b="1">
                <a:solidFill>
                  <a:srgbClr val="132052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  <a:sym typeface="Proxima Nova"/>
              </a:rPr>
              <a:t>İÇİNDEKİLER</a:t>
            </a:r>
            <a:endParaRPr>
              <a:latin typeface="+mj-lt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İçerik">
  <p:cSld name="İçerik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4780306-8FDB-37DB-CC83-A9D3E550B9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555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780306-8FDB-37DB-CC83-A9D3E550B9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Google Shape;20;p13"/>
          <p:cNvSpPr/>
          <p:nvPr/>
        </p:nvSpPr>
        <p:spPr>
          <a:xfrm>
            <a:off x="10763605" y="6172200"/>
            <a:ext cx="742595" cy="592403"/>
          </a:xfrm>
          <a:custGeom>
            <a:avLst/>
            <a:gdLst/>
            <a:ahLst/>
            <a:cxnLst/>
            <a:rect l="l" t="t" r="r" b="b"/>
            <a:pathLst>
              <a:path w="1113893" h="888604" extrusionOk="0">
                <a:moveTo>
                  <a:pt x="0" y="0"/>
                </a:moveTo>
                <a:lnTo>
                  <a:pt x="1113893" y="0"/>
                </a:lnTo>
                <a:lnTo>
                  <a:pt x="1113893" y="888604"/>
                </a:lnTo>
                <a:lnTo>
                  <a:pt x="0" y="88860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 l="-11768" t="-14070" r="-11768" b="-3845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1" name="Google Shape;21;p13"/>
          <p:cNvCxnSpPr>
            <a:cxnSpLocks/>
          </p:cNvCxnSpPr>
          <p:nvPr/>
        </p:nvCxnSpPr>
        <p:spPr>
          <a:xfrm>
            <a:off x="355600" y="889000"/>
            <a:ext cx="11318783" cy="0"/>
          </a:xfrm>
          <a:prstGeom prst="straightConnector1">
            <a:avLst/>
          </a:prstGeom>
          <a:noFill/>
          <a:ln w="38100" cap="flat" cmpd="sng">
            <a:solidFill>
              <a:srgbClr val="F89D5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" name="Google Shape;22;p13"/>
          <p:cNvSpPr txBox="1"/>
          <p:nvPr/>
        </p:nvSpPr>
        <p:spPr>
          <a:xfrm>
            <a:off x="355600" y="6415841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487">
                <a:solidFill>
                  <a:schemeClr val="dk1"/>
                </a:solidFill>
                <a:latin typeface="+mj-lt"/>
                <a:ea typeface="Proxima Nova"/>
                <a:cs typeface="Proxima Nova"/>
                <a:sym typeface="Proxima Nova"/>
              </a:rPr>
              <a:t>‹#›</a:t>
            </a:fld>
            <a:endParaRPr sz="1487">
              <a:solidFill>
                <a:schemeClr val="dk1"/>
              </a:solidFill>
              <a:latin typeface="+mj-lt"/>
              <a:ea typeface="Proxima Nova"/>
              <a:cs typeface="Proxima Nova"/>
              <a:sym typeface="Proxima Nova"/>
            </a:endParaRPr>
          </a:p>
        </p:txBody>
      </p:sp>
      <p:sp>
        <p:nvSpPr>
          <p:cNvPr id="23" name="Google Shape;23;p13"/>
          <p:cNvSpPr txBox="1">
            <a:spLocks noGrp="1"/>
          </p:cNvSpPr>
          <p:nvPr>
            <p:ph type="title" hasCustomPrompt="1"/>
          </p:nvPr>
        </p:nvSpPr>
        <p:spPr>
          <a:xfrm>
            <a:off x="355600" y="164996"/>
            <a:ext cx="11318783" cy="586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Proxima Nova"/>
              <a:buNone/>
              <a:defRPr sz="2200" b="0" i="0" u="none" strike="noStrike" cap="none">
                <a:solidFill>
                  <a:schemeClr val="dk1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  <a:sym typeface="Proxima Nov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tr-TR"/>
              <a:t>J</a:t>
            </a:r>
            <a:br>
              <a:rPr lang="tr-TR"/>
            </a:br>
            <a:r>
              <a:rPr lang="tr-TR" err="1"/>
              <a:t>j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şekkürler">
  <p:cSld name="Teşekkürler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 extrusionOk="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26;p14"/>
          <p:cNvSpPr txBox="1"/>
          <p:nvPr/>
        </p:nvSpPr>
        <p:spPr>
          <a:xfrm>
            <a:off x="4818931" y="4189542"/>
            <a:ext cx="2554139" cy="4203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39979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5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TEŞEKKÜRLER</a:t>
            </a:r>
            <a:endParaRPr>
              <a:latin typeface="+mj-lt"/>
            </a:endParaRPr>
          </a:p>
        </p:txBody>
      </p:sp>
      <p:sp>
        <p:nvSpPr>
          <p:cNvPr id="27" name="Google Shape;27;p14"/>
          <p:cNvSpPr/>
          <p:nvPr/>
        </p:nvSpPr>
        <p:spPr>
          <a:xfrm>
            <a:off x="4818931" y="1337187"/>
            <a:ext cx="2554139" cy="2037555"/>
          </a:xfrm>
          <a:custGeom>
            <a:avLst/>
            <a:gdLst/>
            <a:ahLst/>
            <a:cxnLst/>
            <a:rect l="l" t="t" r="r" b="b"/>
            <a:pathLst>
              <a:path w="3831208" h="3056332" extrusionOk="0">
                <a:moveTo>
                  <a:pt x="0" y="0"/>
                </a:moveTo>
                <a:lnTo>
                  <a:pt x="3831208" y="0"/>
                </a:lnTo>
                <a:lnTo>
                  <a:pt x="3831208" y="3056332"/>
                </a:lnTo>
                <a:lnTo>
                  <a:pt x="0" y="305633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11768" t="-14070" r="-11768" b="-3845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apak">
  <p:cSld name="Kapak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5"/>
          <p:cNvSpPr/>
          <p:nvPr/>
        </p:nvSpPr>
        <p:spPr>
          <a:xfrm flipH="1"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 extrusionOk="0">
                <a:moveTo>
                  <a:pt x="18288000" y="0"/>
                </a:moveTo>
                <a:lnTo>
                  <a:pt x="0" y="0"/>
                </a:lnTo>
                <a:lnTo>
                  <a:pt x="0" y="10287000"/>
                </a:lnTo>
                <a:lnTo>
                  <a:pt x="18288000" y="10287000"/>
                </a:lnTo>
                <a:lnTo>
                  <a:pt x="1828800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" name="Google Shape;30;p15"/>
          <p:cNvSpPr txBox="1"/>
          <p:nvPr/>
        </p:nvSpPr>
        <p:spPr>
          <a:xfrm>
            <a:off x="6908800" y="736600"/>
            <a:ext cx="4781705" cy="44283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7689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Fintegral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Consulting,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işletmelerin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büyüme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hedeflerine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ulaşmaları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iş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dünyasında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rekabet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avantajı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kazanmaları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için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stratejik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çözümler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sunan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bir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danışmanlık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firmasıdır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.</a:t>
            </a:r>
            <a:endParaRPr>
              <a:latin typeface="+mj-lt"/>
            </a:endParaRPr>
          </a:p>
          <a:p>
            <a:pPr marL="0" marR="0" lvl="0" indent="0" algn="r" rtl="0">
              <a:lnSpc>
                <a:spcPct val="134583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33" b="0">
              <a:solidFill>
                <a:srgbClr val="FFFFFF"/>
              </a:solidFill>
              <a:latin typeface="+mj-lt"/>
              <a:ea typeface="Proxima Nova"/>
              <a:cs typeface="Proxima Nova"/>
              <a:sym typeface="Proxima Nova"/>
            </a:endParaRPr>
          </a:p>
          <a:p>
            <a:pPr marL="0" marR="0" lvl="0" indent="0" algn="r" rtl="0">
              <a:lnSpc>
                <a:spcPct val="134583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Kurumsa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tratej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geliştirm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dijita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dönüşüm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tedari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zincir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yönetim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paz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tratejiler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gib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birço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alanda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uzmanlaşmış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ola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Fintegra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müşterilerin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yenilikç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ürdürülebili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çözümlerl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ş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üreçlerin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yileştirm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mkanı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ağl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.</a:t>
            </a:r>
            <a:endParaRPr>
              <a:latin typeface="+mj-lt"/>
            </a:endParaRPr>
          </a:p>
          <a:p>
            <a:pPr marL="0" marR="0" lvl="0" indent="0" algn="r" rtl="0">
              <a:lnSpc>
                <a:spcPct val="134583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33" b="0">
              <a:solidFill>
                <a:srgbClr val="FFFFFF"/>
              </a:solidFill>
              <a:latin typeface="+mj-lt"/>
              <a:ea typeface="Proxima Nova"/>
              <a:cs typeface="Proxima Nova"/>
              <a:sym typeface="Proxima Nova"/>
            </a:endParaRPr>
          </a:p>
          <a:p>
            <a:pPr marL="0" marR="0" lvl="0" indent="0" algn="r" rtl="0">
              <a:lnSpc>
                <a:spcPct val="134583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Fintegra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Consulting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deneyimiyl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ş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dünyasında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ürdürülebili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büyüm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başarıya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odaklana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çözümle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un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.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Uzma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ekibimiz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her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projed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titizlikl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çalışara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müşter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odaklı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tratejile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geliştiri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şletmenizi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kârlılığını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artırma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paz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payınızı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genişletme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operasyone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rimliliğiniz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yükseltme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çi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etki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çözümle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un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.</a:t>
            </a:r>
            <a:endParaRPr sz="1333" b="0">
              <a:solidFill>
                <a:srgbClr val="FFFFFF"/>
              </a:solidFill>
              <a:latin typeface="+mj-lt"/>
              <a:ea typeface="Proxima Nova"/>
              <a:cs typeface="Proxima Nova"/>
              <a:sym typeface="Proxima Nova"/>
            </a:endParaRPr>
          </a:p>
        </p:txBody>
      </p:sp>
      <p:sp>
        <p:nvSpPr>
          <p:cNvPr id="31" name="Google Shape;31;p15"/>
          <p:cNvSpPr/>
          <p:nvPr/>
        </p:nvSpPr>
        <p:spPr>
          <a:xfrm>
            <a:off x="469723" y="5677876"/>
            <a:ext cx="1239302" cy="988649"/>
          </a:xfrm>
          <a:custGeom>
            <a:avLst/>
            <a:gdLst/>
            <a:ahLst/>
            <a:cxnLst/>
            <a:rect l="l" t="t" r="r" b="b"/>
            <a:pathLst>
              <a:path w="1858953" h="1482973" extrusionOk="0">
                <a:moveTo>
                  <a:pt x="0" y="0"/>
                </a:moveTo>
                <a:lnTo>
                  <a:pt x="1858953" y="0"/>
                </a:lnTo>
                <a:lnTo>
                  <a:pt x="1858953" y="1482974"/>
                </a:lnTo>
                <a:lnTo>
                  <a:pt x="0" y="148297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11768" t="-14070" r="-11768" b="-3845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" name="Google Shape;32;p15"/>
          <p:cNvSpPr txBox="1"/>
          <p:nvPr/>
        </p:nvSpPr>
        <p:spPr>
          <a:xfrm>
            <a:off x="7569200" y="5481177"/>
            <a:ext cx="4219575" cy="494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3425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Ataköy 7-8-9-10. Kısım Mh. Çobançeşme E5 Yanyol Cd.</a:t>
            </a:r>
            <a:endParaRPr>
              <a:latin typeface="+mj-lt"/>
            </a:endParaRPr>
          </a:p>
          <a:p>
            <a:pPr marL="0" marR="0" lvl="0" indent="0" algn="r" rtl="0">
              <a:lnSpc>
                <a:spcPct val="13425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No: 8/2 A Ofis Kt: 13 No:51 Bakırköy/İSTANBUL</a:t>
            </a:r>
            <a:endParaRPr>
              <a:latin typeface="+mj-lt"/>
            </a:endParaRPr>
          </a:p>
        </p:txBody>
      </p:sp>
      <p:sp>
        <p:nvSpPr>
          <p:cNvPr id="33" name="Google Shape;33;p15"/>
          <p:cNvSpPr txBox="1"/>
          <p:nvPr/>
        </p:nvSpPr>
        <p:spPr>
          <a:xfrm>
            <a:off x="9617280" y="6200166"/>
            <a:ext cx="2073225" cy="2910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3997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51">
                <a:solidFill>
                  <a:schemeClr val="lt1"/>
                </a:solidFill>
                <a:latin typeface="+mj-lt"/>
                <a:ea typeface="Proxima Nova"/>
                <a:cs typeface="Proxima Nova"/>
                <a:sym typeface="Proxima Nova"/>
              </a:rPr>
              <a:t>fintegral.com.tr</a:t>
            </a:r>
            <a:endParaRPr>
              <a:latin typeface="+mj-lt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A8AD157-0C87-4E5F-B1E0-E84EC195E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78838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8AD157-0C87-4E5F-B1E0-E84EC195E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4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52.xml"/><Relationship Id="rId18" Type="http://schemas.openxmlformats.org/officeDocument/2006/relationships/tags" Target="../tags/tag157.xml"/><Relationship Id="rId26" Type="http://schemas.openxmlformats.org/officeDocument/2006/relationships/tags" Target="../tags/tag165.xml"/><Relationship Id="rId39" Type="http://schemas.openxmlformats.org/officeDocument/2006/relationships/tags" Target="../tags/tag178.xml"/><Relationship Id="rId21" Type="http://schemas.openxmlformats.org/officeDocument/2006/relationships/tags" Target="../tags/tag160.xml"/><Relationship Id="rId34" Type="http://schemas.openxmlformats.org/officeDocument/2006/relationships/tags" Target="../tags/tag173.xml"/><Relationship Id="rId42" Type="http://schemas.openxmlformats.org/officeDocument/2006/relationships/tags" Target="../tags/tag181.xml"/><Relationship Id="rId47" Type="http://schemas.openxmlformats.org/officeDocument/2006/relationships/tags" Target="../tags/tag186.xml"/><Relationship Id="rId50" Type="http://schemas.openxmlformats.org/officeDocument/2006/relationships/tags" Target="../tags/tag189.xml"/><Relationship Id="rId55" Type="http://schemas.openxmlformats.org/officeDocument/2006/relationships/oleObject" Target="../embeddings/oleObject11.bin"/><Relationship Id="rId7" Type="http://schemas.openxmlformats.org/officeDocument/2006/relationships/tags" Target="../tags/tag146.xml"/><Relationship Id="rId12" Type="http://schemas.openxmlformats.org/officeDocument/2006/relationships/tags" Target="../tags/tag151.xml"/><Relationship Id="rId17" Type="http://schemas.openxmlformats.org/officeDocument/2006/relationships/tags" Target="../tags/tag156.xml"/><Relationship Id="rId25" Type="http://schemas.openxmlformats.org/officeDocument/2006/relationships/tags" Target="../tags/tag164.xml"/><Relationship Id="rId33" Type="http://schemas.openxmlformats.org/officeDocument/2006/relationships/tags" Target="../tags/tag172.xml"/><Relationship Id="rId38" Type="http://schemas.openxmlformats.org/officeDocument/2006/relationships/tags" Target="../tags/tag177.xml"/><Relationship Id="rId46" Type="http://schemas.openxmlformats.org/officeDocument/2006/relationships/tags" Target="../tags/tag185.xml"/><Relationship Id="rId2" Type="http://schemas.openxmlformats.org/officeDocument/2006/relationships/tags" Target="../tags/tag141.xml"/><Relationship Id="rId16" Type="http://schemas.openxmlformats.org/officeDocument/2006/relationships/tags" Target="../tags/tag155.xml"/><Relationship Id="rId20" Type="http://schemas.openxmlformats.org/officeDocument/2006/relationships/tags" Target="../tags/tag159.xml"/><Relationship Id="rId29" Type="http://schemas.openxmlformats.org/officeDocument/2006/relationships/tags" Target="../tags/tag168.xml"/><Relationship Id="rId41" Type="http://schemas.openxmlformats.org/officeDocument/2006/relationships/tags" Target="../tags/tag180.xml"/><Relationship Id="rId54" Type="http://schemas.openxmlformats.org/officeDocument/2006/relationships/slideLayout" Target="../slideLayouts/slideLayout3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1" Type="http://schemas.openxmlformats.org/officeDocument/2006/relationships/tags" Target="../tags/tag150.xml"/><Relationship Id="rId24" Type="http://schemas.openxmlformats.org/officeDocument/2006/relationships/tags" Target="../tags/tag163.xml"/><Relationship Id="rId32" Type="http://schemas.openxmlformats.org/officeDocument/2006/relationships/tags" Target="../tags/tag171.xml"/><Relationship Id="rId37" Type="http://schemas.openxmlformats.org/officeDocument/2006/relationships/tags" Target="../tags/tag176.xml"/><Relationship Id="rId40" Type="http://schemas.openxmlformats.org/officeDocument/2006/relationships/tags" Target="../tags/tag179.xml"/><Relationship Id="rId45" Type="http://schemas.openxmlformats.org/officeDocument/2006/relationships/tags" Target="../tags/tag184.xml"/><Relationship Id="rId53" Type="http://schemas.openxmlformats.org/officeDocument/2006/relationships/tags" Target="../tags/tag192.xml"/><Relationship Id="rId58" Type="http://schemas.openxmlformats.org/officeDocument/2006/relationships/chart" Target="../charts/chart8.xml"/><Relationship Id="rId5" Type="http://schemas.openxmlformats.org/officeDocument/2006/relationships/tags" Target="../tags/tag144.xml"/><Relationship Id="rId15" Type="http://schemas.openxmlformats.org/officeDocument/2006/relationships/tags" Target="../tags/tag154.xml"/><Relationship Id="rId23" Type="http://schemas.openxmlformats.org/officeDocument/2006/relationships/tags" Target="../tags/tag162.xml"/><Relationship Id="rId28" Type="http://schemas.openxmlformats.org/officeDocument/2006/relationships/tags" Target="../tags/tag167.xml"/><Relationship Id="rId36" Type="http://schemas.openxmlformats.org/officeDocument/2006/relationships/tags" Target="../tags/tag175.xml"/><Relationship Id="rId49" Type="http://schemas.openxmlformats.org/officeDocument/2006/relationships/tags" Target="../tags/tag188.xml"/><Relationship Id="rId57" Type="http://schemas.openxmlformats.org/officeDocument/2006/relationships/chart" Target="../charts/chart7.xml"/><Relationship Id="rId10" Type="http://schemas.openxmlformats.org/officeDocument/2006/relationships/tags" Target="../tags/tag149.xml"/><Relationship Id="rId19" Type="http://schemas.openxmlformats.org/officeDocument/2006/relationships/tags" Target="../tags/tag158.xml"/><Relationship Id="rId31" Type="http://schemas.openxmlformats.org/officeDocument/2006/relationships/tags" Target="../tags/tag170.xml"/><Relationship Id="rId44" Type="http://schemas.openxmlformats.org/officeDocument/2006/relationships/tags" Target="../tags/tag183.xml"/><Relationship Id="rId52" Type="http://schemas.openxmlformats.org/officeDocument/2006/relationships/tags" Target="../tags/tag191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tags" Target="../tags/tag153.xml"/><Relationship Id="rId22" Type="http://schemas.openxmlformats.org/officeDocument/2006/relationships/tags" Target="../tags/tag161.xml"/><Relationship Id="rId27" Type="http://schemas.openxmlformats.org/officeDocument/2006/relationships/tags" Target="../tags/tag166.xml"/><Relationship Id="rId30" Type="http://schemas.openxmlformats.org/officeDocument/2006/relationships/tags" Target="../tags/tag169.xml"/><Relationship Id="rId35" Type="http://schemas.openxmlformats.org/officeDocument/2006/relationships/tags" Target="../tags/tag174.xml"/><Relationship Id="rId43" Type="http://schemas.openxmlformats.org/officeDocument/2006/relationships/tags" Target="../tags/tag182.xml"/><Relationship Id="rId48" Type="http://schemas.openxmlformats.org/officeDocument/2006/relationships/tags" Target="../tags/tag187.xml"/><Relationship Id="rId56" Type="http://schemas.openxmlformats.org/officeDocument/2006/relationships/image" Target="../media/image1.emf"/><Relationship Id="rId8" Type="http://schemas.openxmlformats.org/officeDocument/2006/relationships/tags" Target="../tags/tag147.xml"/><Relationship Id="rId51" Type="http://schemas.openxmlformats.org/officeDocument/2006/relationships/tags" Target="../tags/tag190.xml"/><Relationship Id="rId3" Type="http://schemas.openxmlformats.org/officeDocument/2006/relationships/tags" Target="../tags/tag14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5" Type="http://schemas.openxmlformats.org/officeDocument/2006/relationships/chart" Target="../charts/chart9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Relationship Id="rId1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4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5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13" Type="http://schemas.openxmlformats.org/officeDocument/2006/relationships/tags" Target="../tags/tag218.xml"/><Relationship Id="rId18" Type="http://schemas.openxmlformats.org/officeDocument/2006/relationships/tags" Target="../tags/tag223.xml"/><Relationship Id="rId26" Type="http://schemas.openxmlformats.org/officeDocument/2006/relationships/tags" Target="../tags/tag231.xml"/><Relationship Id="rId39" Type="http://schemas.openxmlformats.org/officeDocument/2006/relationships/slideLayout" Target="../slideLayouts/slideLayout3.xml"/><Relationship Id="rId3" Type="http://schemas.openxmlformats.org/officeDocument/2006/relationships/tags" Target="../tags/tag208.xml"/><Relationship Id="rId21" Type="http://schemas.openxmlformats.org/officeDocument/2006/relationships/tags" Target="../tags/tag226.xml"/><Relationship Id="rId34" Type="http://schemas.openxmlformats.org/officeDocument/2006/relationships/tags" Target="../tags/tag239.xml"/><Relationship Id="rId42" Type="http://schemas.openxmlformats.org/officeDocument/2006/relationships/chart" Target="../charts/chart10.xml"/><Relationship Id="rId7" Type="http://schemas.openxmlformats.org/officeDocument/2006/relationships/tags" Target="../tags/tag212.xml"/><Relationship Id="rId12" Type="http://schemas.openxmlformats.org/officeDocument/2006/relationships/tags" Target="../tags/tag217.xml"/><Relationship Id="rId17" Type="http://schemas.openxmlformats.org/officeDocument/2006/relationships/tags" Target="../tags/tag222.xml"/><Relationship Id="rId25" Type="http://schemas.openxmlformats.org/officeDocument/2006/relationships/tags" Target="../tags/tag230.xml"/><Relationship Id="rId33" Type="http://schemas.openxmlformats.org/officeDocument/2006/relationships/tags" Target="../tags/tag238.xml"/><Relationship Id="rId38" Type="http://schemas.openxmlformats.org/officeDocument/2006/relationships/tags" Target="../tags/tag243.xml"/><Relationship Id="rId2" Type="http://schemas.openxmlformats.org/officeDocument/2006/relationships/tags" Target="../tags/tag207.xml"/><Relationship Id="rId16" Type="http://schemas.openxmlformats.org/officeDocument/2006/relationships/tags" Target="../tags/tag221.xml"/><Relationship Id="rId20" Type="http://schemas.openxmlformats.org/officeDocument/2006/relationships/tags" Target="../tags/tag225.xml"/><Relationship Id="rId29" Type="http://schemas.openxmlformats.org/officeDocument/2006/relationships/tags" Target="../tags/tag234.xml"/><Relationship Id="rId41" Type="http://schemas.openxmlformats.org/officeDocument/2006/relationships/image" Target="../media/image1.emf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11" Type="http://schemas.openxmlformats.org/officeDocument/2006/relationships/tags" Target="../tags/tag216.xml"/><Relationship Id="rId24" Type="http://schemas.openxmlformats.org/officeDocument/2006/relationships/tags" Target="../tags/tag229.xml"/><Relationship Id="rId32" Type="http://schemas.openxmlformats.org/officeDocument/2006/relationships/tags" Target="../tags/tag237.xml"/><Relationship Id="rId37" Type="http://schemas.openxmlformats.org/officeDocument/2006/relationships/tags" Target="../tags/tag242.xml"/><Relationship Id="rId40" Type="http://schemas.openxmlformats.org/officeDocument/2006/relationships/oleObject" Target="../embeddings/oleObject15.bin"/><Relationship Id="rId5" Type="http://schemas.openxmlformats.org/officeDocument/2006/relationships/tags" Target="../tags/tag210.xml"/><Relationship Id="rId15" Type="http://schemas.openxmlformats.org/officeDocument/2006/relationships/tags" Target="../tags/tag220.xml"/><Relationship Id="rId23" Type="http://schemas.openxmlformats.org/officeDocument/2006/relationships/tags" Target="../tags/tag228.xml"/><Relationship Id="rId28" Type="http://schemas.openxmlformats.org/officeDocument/2006/relationships/tags" Target="../tags/tag233.xml"/><Relationship Id="rId36" Type="http://schemas.openxmlformats.org/officeDocument/2006/relationships/tags" Target="../tags/tag241.xml"/><Relationship Id="rId10" Type="http://schemas.openxmlformats.org/officeDocument/2006/relationships/tags" Target="../tags/tag215.xml"/><Relationship Id="rId19" Type="http://schemas.openxmlformats.org/officeDocument/2006/relationships/tags" Target="../tags/tag224.xml"/><Relationship Id="rId31" Type="http://schemas.openxmlformats.org/officeDocument/2006/relationships/tags" Target="../tags/tag236.xml"/><Relationship Id="rId4" Type="http://schemas.openxmlformats.org/officeDocument/2006/relationships/tags" Target="../tags/tag209.xml"/><Relationship Id="rId9" Type="http://schemas.openxmlformats.org/officeDocument/2006/relationships/tags" Target="../tags/tag214.xml"/><Relationship Id="rId14" Type="http://schemas.openxmlformats.org/officeDocument/2006/relationships/tags" Target="../tags/tag219.xml"/><Relationship Id="rId22" Type="http://schemas.openxmlformats.org/officeDocument/2006/relationships/tags" Target="../tags/tag227.xml"/><Relationship Id="rId27" Type="http://schemas.openxmlformats.org/officeDocument/2006/relationships/tags" Target="../tags/tag232.xml"/><Relationship Id="rId30" Type="http://schemas.openxmlformats.org/officeDocument/2006/relationships/tags" Target="../tags/tag235.xml"/><Relationship Id="rId35" Type="http://schemas.openxmlformats.org/officeDocument/2006/relationships/tags" Target="../tags/tag24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13" Type="http://schemas.openxmlformats.org/officeDocument/2006/relationships/tags" Target="../tags/tag256.xml"/><Relationship Id="rId18" Type="http://schemas.openxmlformats.org/officeDocument/2006/relationships/tags" Target="../tags/tag261.xml"/><Relationship Id="rId26" Type="http://schemas.openxmlformats.org/officeDocument/2006/relationships/tags" Target="../tags/tag269.xml"/><Relationship Id="rId3" Type="http://schemas.openxmlformats.org/officeDocument/2006/relationships/tags" Target="../tags/tag246.xml"/><Relationship Id="rId21" Type="http://schemas.openxmlformats.org/officeDocument/2006/relationships/tags" Target="../tags/tag264.xml"/><Relationship Id="rId34" Type="http://schemas.openxmlformats.org/officeDocument/2006/relationships/slideLayout" Target="../slideLayouts/slideLayout3.xml"/><Relationship Id="rId7" Type="http://schemas.openxmlformats.org/officeDocument/2006/relationships/tags" Target="../tags/tag250.xml"/><Relationship Id="rId12" Type="http://schemas.openxmlformats.org/officeDocument/2006/relationships/tags" Target="../tags/tag255.xml"/><Relationship Id="rId17" Type="http://schemas.openxmlformats.org/officeDocument/2006/relationships/tags" Target="../tags/tag260.xml"/><Relationship Id="rId25" Type="http://schemas.openxmlformats.org/officeDocument/2006/relationships/tags" Target="../tags/tag268.xml"/><Relationship Id="rId33" Type="http://schemas.openxmlformats.org/officeDocument/2006/relationships/tags" Target="../tags/tag276.xml"/><Relationship Id="rId2" Type="http://schemas.openxmlformats.org/officeDocument/2006/relationships/tags" Target="../tags/tag245.xml"/><Relationship Id="rId16" Type="http://schemas.openxmlformats.org/officeDocument/2006/relationships/tags" Target="../tags/tag259.xml"/><Relationship Id="rId20" Type="http://schemas.openxmlformats.org/officeDocument/2006/relationships/tags" Target="../tags/tag263.xml"/><Relationship Id="rId29" Type="http://schemas.openxmlformats.org/officeDocument/2006/relationships/tags" Target="../tags/tag272.xml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tags" Target="../tags/tag254.xml"/><Relationship Id="rId24" Type="http://schemas.openxmlformats.org/officeDocument/2006/relationships/tags" Target="../tags/tag267.xml"/><Relationship Id="rId32" Type="http://schemas.openxmlformats.org/officeDocument/2006/relationships/tags" Target="../tags/tag275.xml"/><Relationship Id="rId37" Type="http://schemas.openxmlformats.org/officeDocument/2006/relationships/chart" Target="../charts/chart11.xml"/><Relationship Id="rId5" Type="http://schemas.openxmlformats.org/officeDocument/2006/relationships/tags" Target="../tags/tag248.xml"/><Relationship Id="rId15" Type="http://schemas.openxmlformats.org/officeDocument/2006/relationships/tags" Target="../tags/tag258.xml"/><Relationship Id="rId23" Type="http://schemas.openxmlformats.org/officeDocument/2006/relationships/tags" Target="../tags/tag266.xml"/><Relationship Id="rId28" Type="http://schemas.openxmlformats.org/officeDocument/2006/relationships/tags" Target="../tags/tag271.xml"/><Relationship Id="rId36" Type="http://schemas.openxmlformats.org/officeDocument/2006/relationships/image" Target="../media/image1.emf"/><Relationship Id="rId10" Type="http://schemas.openxmlformats.org/officeDocument/2006/relationships/tags" Target="../tags/tag253.xml"/><Relationship Id="rId19" Type="http://schemas.openxmlformats.org/officeDocument/2006/relationships/tags" Target="../tags/tag262.xml"/><Relationship Id="rId31" Type="http://schemas.openxmlformats.org/officeDocument/2006/relationships/tags" Target="../tags/tag274.xml"/><Relationship Id="rId4" Type="http://schemas.openxmlformats.org/officeDocument/2006/relationships/tags" Target="../tags/tag247.xml"/><Relationship Id="rId9" Type="http://schemas.openxmlformats.org/officeDocument/2006/relationships/tags" Target="../tags/tag252.xml"/><Relationship Id="rId14" Type="http://schemas.openxmlformats.org/officeDocument/2006/relationships/tags" Target="../tags/tag257.xml"/><Relationship Id="rId22" Type="http://schemas.openxmlformats.org/officeDocument/2006/relationships/tags" Target="../tags/tag265.xml"/><Relationship Id="rId27" Type="http://schemas.openxmlformats.org/officeDocument/2006/relationships/tags" Target="../tags/tag270.xml"/><Relationship Id="rId30" Type="http://schemas.openxmlformats.org/officeDocument/2006/relationships/tags" Target="../tags/tag273.xml"/><Relationship Id="rId35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289.xml"/><Relationship Id="rId18" Type="http://schemas.openxmlformats.org/officeDocument/2006/relationships/tags" Target="../tags/tag294.xml"/><Relationship Id="rId26" Type="http://schemas.openxmlformats.org/officeDocument/2006/relationships/tags" Target="../tags/tag302.xml"/><Relationship Id="rId39" Type="http://schemas.openxmlformats.org/officeDocument/2006/relationships/tags" Target="../tags/tag315.xml"/><Relationship Id="rId3" Type="http://schemas.openxmlformats.org/officeDocument/2006/relationships/tags" Target="../tags/tag279.xml"/><Relationship Id="rId21" Type="http://schemas.openxmlformats.org/officeDocument/2006/relationships/tags" Target="../tags/tag297.xml"/><Relationship Id="rId34" Type="http://schemas.openxmlformats.org/officeDocument/2006/relationships/tags" Target="../tags/tag310.xml"/><Relationship Id="rId42" Type="http://schemas.openxmlformats.org/officeDocument/2006/relationships/tags" Target="../tags/tag318.xml"/><Relationship Id="rId47" Type="http://schemas.openxmlformats.org/officeDocument/2006/relationships/tags" Target="../tags/tag323.xml"/><Relationship Id="rId50" Type="http://schemas.openxmlformats.org/officeDocument/2006/relationships/tags" Target="../tags/tag326.xml"/><Relationship Id="rId7" Type="http://schemas.openxmlformats.org/officeDocument/2006/relationships/tags" Target="../tags/tag283.xml"/><Relationship Id="rId12" Type="http://schemas.openxmlformats.org/officeDocument/2006/relationships/tags" Target="../tags/tag288.xml"/><Relationship Id="rId17" Type="http://schemas.openxmlformats.org/officeDocument/2006/relationships/tags" Target="../tags/tag293.xml"/><Relationship Id="rId25" Type="http://schemas.openxmlformats.org/officeDocument/2006/relationships/tags" Target="../tags/tag301.xml"/><Relationship Id="rId33" Type="http://schemas.openxmlformats.org/officeDocument/2006/relationships/tags" Target="../tags/tag309.xml"/><Relationship Id="rId38" Type="http://schemas.openxmlformats.org/officeDocument/2006/relationships/tags" Target="../tags/tag314.xml"/><Relationship Id="rId46" Type="http://schemas.openxmlformats.org/officeDocument/2006/relationships/tags" Target="../tags/tag322.xml"/><Relationship Id="rId2" Type="http://schemas.openxmlformats.org/officeDocument/2006/relationships/tags" Target="../tags/tag278.xml"/><Relationship Id="rId16" Type="http://schemas.openxmlformats.org/officeDocument/2006/relationships/tags" Target="../tags/tag292.xml"/><Relationship Id="rId20" Type="http://schemas.openxmlformats.org/officeDocument/2006/relationships/tags" Target="../tags/tag296.xml"/><Relationship Id="rId29" Type="http://schemas.openxmlformats.org/officeDocument/2006/relationships/tags" Target="../tags/tag305.xml"/><Relationship Id="rId41" Type="http://schemas.openxmlformats.org/officeDocument/2006/relationships/tags" Target="../tags/tag317.xml"/><Relationship Id="rId54" Type="http://schemas.openxmlformats.org/officeDocument/2006/relationships/chart" Target="../charts/chart12.xml"/><Relationship Id="rId1" Type="http://schemas.openxmlformats.org/officeDocument/2006/relationships/tags" Target="../tags/tag277.xml"/><Relationship Id="rId6" Type="http://schemas.openxmlformats.org/officeDocument/2006/relationships/tags" Target="../tags/tag282.xml"/><Relationship Id="rId11" Type="http://schemas.openxmlformats.org/officeDocument/2006/relationships/tags" Target="../tags/tag287.xml"/><Relationship Id="rId24" Type="http://schemas.openxmlformats.org/officeDocument/2006/relationships/tags" Target="../tags/tag300.xml"/><Relationship Id="rId32" Type="http://schemas.openxmlformats.org/officeDocument/2006/relationships/tags" Target="../tags/tag308.xml"/><Relationship Id="rId37" Type="http://schemas.openxmlformats.org/officeDocument/2006/relationships/tags" Target="../tags/tag313.xml"/><Relationship Id="rId40" Type="http://schemas.openxmlformats.org/officeDocument/2006/relationships/tags" Target="../tags/tag316.xml"/><Relationship Id="rId45" Type="http://schemas.openxmlformats.org/officeDocument/2006/relationships/tags" Target="../tags/tag321.xml"/><Relationship Id="rId53" Type="http://schemas.openxmlformats.org/officeDocument/2006/relationships/image" Target="../media/image1.emf"/><Relationship Id="rId5" Type="http://schemas.openxmlformats.org/officeDocument/2006/relationships/tags" Target="../tags/tag281.xml"/><Relationship Id="rId15" Type="http://schemas.openxmlformats.org/officeDocument/2006/relationships/tags" Target="../tags/tag291.xml"/><Relationship Id="rId23" Type="http://schemas.openxmlformats.org/officeDocument/2006/relationships/tags" Target="../tags/tag299.xml"/><Relationship Id="rId28" Type="http://schemas.openxmlformats.org/officeDocument/2006/relationships/tags" Target="../tags/tag304.xml"/><Relationship Id="rId36" Type="http://schemas.openxmlformats.org/officeDocument/2006/relationships/tags" Target="../tags/tag312.xml"/><Relationship Id="rId49" Type="http://schemas.openxmlformats.org/officeDocument/2006/relationships/tags" Target="../tags/tag325.xml"/><Relationship Id="rId10" Type="http://schemas.openxmlformats.org/officeDocument/2006/relationships/tags" Target="../tags/tag286.xml"/><Relationship Id="rId19" Type="http://schemas.openxmlformats.org/officeDocument/2006/relationships/tags" Target="../tags/tag295.xml"/><Relationship Id="rId31" Type="http://schemas.openxmlformats.org/officeDocument/2006/relationships/tags" Target="../tags/tag307.xml"/><Relationship Id="rId44" Type="http://schemas.openxmlformats.org/officeDocument/2006/relationships/tags" Target="../tags/tag320.xml"/><Relationship Id="rId52" Type="http://schemas.openxmlformats.org/officeDocument/2006/relationships/oleObject" Target="../embeddings/oleObject17.bin"/><Relationship Id="rId4" Type="http://schemas.openxmlformats.org/officeDocument/2006/relationships/tags" Target="../tags/tag280.xml"/><Relationship Id="rId9" Type="http://schemas.openxmlformats.org/officeDocument/2006/relationships/tags" Target="../tags/tag285.xml"/><Relationship Id="rId14" Type="http://schemas.openxmlformats.org/officeDocument/2006/relationships/tags" Target="../tags/tag290.xml"/><Relationship Id="rId22" Type="http://schemas.openxmlformats.org/officeDocument/2006/relationships/tags" Target="../tags/tag298.xml"/><Relationship Id="rId27" Type="http://schemas.openxmlformats.org/officeDocument/2006/relationships/tags" Target="../tags/tag303.xml"/><Relationship Id="rId30" Type="http://schemas.openxmlformats.org/officeDocument/2006/relationships/tags" Target="../tags/tag306.xml"/><Relationship Id="rId35" Type="http://schemas.openxmlformats.org/officeDocument/2006/relationships/tags" Target="../tags/tag311.xml"/><Relationship Id="rId43" Type="http://schemas.openxmlformats.org/officeDocument/2006/relationships/tags" Target="../tags/tag319.xml"/><Relationship Id="rId48" Type="http://schemas.openxmlformats.org/officeDocument/2006/relationships/tags" Target="../tags/tag324.xml"/><Relationship Id="rId8" Type="http://schemas.openxmlformats.org/officeDocument/2006/relationships/tags" Target="../tags/tag284.xml"/><Relationship Id="rId5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34.xml"/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3" Type="http://schemas.openxmlformats.org/officeDocument/2006/relationships/tags" Target="../tags/tag329.xml"/><Relationship Id="rId21" Type="http://schemas.openxmlformats.org/officeDocument/2006/relationships/oleObject" Target="../embeddings/oleObject18.bin"/><Relationship Id="rId7" Type="http://schemas.openxmlformats.org/officeDocument/2006/relationships/tags" Target="../tags/tag333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" Type="http://schemas.openxmlformats.org/officeDocument/2006/relationships/tags" Target="../tags/tag328.xml"/><Relationship Id="rId16" Type="http://schemas.openxmlformats.org/officeDocument/2006/relationships/tags" Target="../tags/tag342.xml"/><Relationship Id="rId20" Type="http://schemas.openxmlformats.org/officeDocument/2006/relationships/slideLayout" Target="../slideLayouts/slideLayout3.xml"/><Relationship Id="rId1" Type="http://schemas.openxmlformats.org/officeDocument/2006/relationships/tags" Target="../tags/tag327.xml"/><Relationship Id="rId6" Type="http://schemas.openxmlformats.org/officeDocument/2006/relationships/tags" Target="../tags/tag332.xml"/><Relationship Id="rId11" Type="http://schemas.openxmlformats.org/officeDocument/2006/relationships/tags" Target="../tags/tag337.xml"/><Relationship Id="rId5" Type="http://schemas.openxmlformats.org/officeDocument/2006/relationships/tags" Target="../tags/tag331.xml"/><Relationship Id="rId15" Type="http://schemas.openxmlformats.org/officeDocument/2006/relationships/tags" Target="../tags/tag341.xml"/><Relationship Id="rId23" Type="http://schemas.openxmlformats.org/officeDocument/2006/relationships/chart" Target="../charts/chart13.xml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4" Type="http://schemas.openxmlformats.org/officeDocument/2006/relationships/tags" Target="../tags/tag330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358.xml"/><Relationship Id="rId18" Type="http://schemas.openxmlformats.org/officeDocument/2006/relationships/tags" Target="../tags/tag363.xml"/><Relationship Id="rId26" Type="http://schemas.openxmlformats.org/officeDocument/2006/relationships/tags" Target="../tags/tag371.xml"/><Relationship Id="rId39" Type="http://schemas.openxmlformats.org/officeDocument/2006/relationships/tags" Target="../tags/tag384.xml"/><Relationship Id="rId3" Type="http://schemas.openxmlformats.org/officeDocument/2006/relationships/tags" Target="../tags/tag348.xml"/><Relationship Id="rId21" Type="http://schemas.openxmlformats.org/officeDocument/2006/relationships/tags" Target="../tags/tag366.xml"/><Relationship Id="rId34" Type="http://schemas.openxmlformats.org/officeDocument/2006/relationships/tags" Target="../tags/tag379.xml"/><Relationship Id="rId42" Type="http://schemas.openxmlformats.org/officeDocument/2006/relationships/tags" Target="../tags/tag387.xml"/><Relationship Id="rId47" Type="http://schemas.openxmlformats.org/officeDocument/2006/relationships/tags" Target="../tags/tag392.xml"/><Relationship Id="rId50" Type="http://schemas.openxmlformats.org/officeDocument/2006/relationships/slideLayout" Target="../slideLayouts/slideLayout3.xml"/><Relationship Id="rId7" Type="http://schemas.openxmlformats.org/officeDocument/2006/relationships/tags" Target="../tags/tag352.xml"/><Relationship Id="rId12" Type="http://schemas.openxmlformats.org/officeDocument/2006/relationships/tags" Target="../tags/tag357.xml"/><Relationship Id="rId17" Type="http://schemas.openxmlformats.org/officeDocument/2006/relationships/tags" Target="../tags/tag362.xml"/><Relationship Id="rId25" Type="http://schemas.openxmlformats.org/officeDocument/2006/relationships/tags" Target="../tags/tag370.xml"/><Relationship Id="rId33" Type="http://schemas.openxmlformats.org/officeDocument/2006/relationships/tags" Target="../tags/tag378.xml"/><Relationship Id="rId38" Type="http://schemas.openxmlformats.org/officeDocument/2006/relationships/tags" Target="../tags/tag383.xml"/><Relationship Id="rId46" Type="http://schemas.openxmlformats.org/officeDocument/2006/relationships/tags" Target="../tags/tag391.xml"/><Relationship Id="rId2" Type="http://schemas.openxmlformats.org/officeDocument/2006/relationships/tags" Target="../tags/tag347.xml"/><Relationship Id="rId16" Type="http://schemas.openxmlformats.org/officeDocument/2006/relationships/tags" Target="../tags/tag361.xml"/><Relationship Id="rId20" Type="http://schemas.openxmlformats.org/officeDocument/2006/relationships/tags" Target="../tags/tag365.xml"/><Relationship Id="rId29" Type="http://schemas.openxmlformats.org/officeDocument/2006/relationships/tags" Target="../tags/tag374.xml"/><Relationship Id="rId41" Type="http://schemas.openxmlformats.org/officeDocument/2006/relationships/tags" Target="../tags/tag386.xml"/><Relationship Id="rId1" Type="http://schemas.openxmlformats.org/officeDocument/2006/relationships/tags" Target="../tags/tag346.xml"/><Relationship Id="rId6" Type="http://schemas.openxmlformats.org/officeDocument/2006/relationships/tags" Target="../tags/tag351.xml"/><Relationship Id="rId11" Type="http://schemas.openxmlformats.org/officeDocument/2006/relationships/tags" Target="../tags/tag356.xml"/><Relationship Id="rId24" Type="http://schemas.openxmlformats.org/officeDocument/2006/relationships/tags" Target="../tags/tag369.xml"/><Relationship Id="rId32" Type="http://schemas.openxmlformats.org/officeDocument/2006/relationships/tags" Target="../tags/tag377.xml"/><Relationship Id="rId37" Type="http://schemas.openxmlformats.org/officeDocument/2006/relationships/tags" Target="../tags/tag382.xml"/><Relationship Id="rId40" Type="http://schemas.openxmlformats.org/officeDocument/2006/relationships/tags" Target="../tags/tag385.xml"/><Relationship Id="rId45" Type="http://schemas.openxmlformats.org/officeDocument/2006/relationships/tags" Target="../tags/tag390.xml"/><Relationship Id="rId53" Type="http://schemas.openxmlformats.org/officeDocument/2006/relationships/chart" Target="../charts/chart14.xml"/><Relationship Id="rId5" Type="http://schemas.openxmlformats.org/officeDocument/2006/relationships/tags" Target="../tags/tag350.xml"/><Relationship Id="rId15" Type="http://schemas.openxmlformats.org/officeDocument/2006/relationships/tags" Target="../tags/tag360.xml"/><Relationship Id="rId23" Type="http://schemas.openxmlformats.org/officeDocument/2006/relationships/tags" Target="../tags/tag368.xml"/><Relationship Id="rId28" Type="http://schemas.openxmlformats.org/officeDocument/2006/relationships/tags" Target="../tags/tag373.xml"/><Relationship Id="rId36" Type="http://schemas.openxmlformats.org/officeDocument/2006/relationships/tags" Target="../tags/tag381.xml"/><Relationship Id="rId49" Type="http://schemas.openxmlformats.org/officeDocument/2006/relationships/tags" Target="../tags/tag394.xml"/><Relationship Id="rId10" Type="http://schemas.openxmlformats.org/officeDocument/2006/relationships/tags" Target="../tags/tag355.xml"/><Relationship Id="rId19" Type="http://schemas.openxmlformats.org/officeDocument/2006/relationships/tags" Target="../tags/tag364.xml"/><Relationship Id="rId31" Type="http://schemas.openxmlformats.org/officeDocument/2006/relationships/tags" Target="../tags/tag376.xml"/><Relationship Id="rId44" Type="http://schemas.openxmlformats.org/officeDocument/2006/relationships/tags" Target="../tags/tag389.xml"/><Relationship Id="rId52" Type="http://schemas.openxmlformats.org/officeDocument/2006/relationships/image" Target="../media/image1.emf"/><Relationship Id="rId4" Type="http://schemas.openxmlformats.org/officeDocument/2006/relationships/tags" Target="../tags/tag349.xml"/><Relationship Id="rId9" Type="http://schemas.openxmlformats.org/officeDocument/2006/relationships/tags" Target="../tags/tag354.xml"/><Relationship Id="rId14" Type="http://schemas.openxmlformats.org/officeDocument/2006/relationships/tags" Target="../tags/tag359.xml"/><Relationship Id="rId22" Type="http://schemas.openxmlformats.org/officeDocument/2006/relationships/tags" Target="../tags/tag367.xml"/><Relationship Id="rId27" Type="http://schemas.openxmlformats.org/officeDocument/2006/relationships/tags" Target="../tags/tag372.xml"/><Relationship Id="rId30" Type="http://schemas.openxmlformats.org/officeDocument/2006/relationships/tags" Target="../tags/tag375.xml"/><Relationship Id="rId35" Type="http://schemas.openxmlformats.org/officeDocument/2006/relationships/tags" Target="../tags/tag380.xml"/><Relationship Id="rId43" Type="http://schemas.openxmlformats.org/officeDocument/2006/relationships/tags" Target="../tags/tag388.xml"/><Relationship Id="rId48" Type="http://schemas.openxmlformats.org/officeDocument/2006/relationships/tags" Target="../tags/tag393.xml"/><Relationship Id="rId8" Type="http://schemas.openxmlformats.org/officeDocument/2006/relationships/tags" Target="../tags/tag353.xml"/><Relationship Id="rId51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397.xml"/><Relationship Id="rId7" Type="http://schemas.openxmlformats.org/officeDocument/2006/relationships/tags" Target="../tags/tag401.xml"/><Relationship Id="rId2" Type="http://schemas.openxmlformats.org/officeDocument/2006/relationships/tags" Target="../tags/tag396.xml"/><Relationship Id="rId1" Type="http://schemas.openxmlformats.org/officeDocument/2006/relationships/tags" Target="../tags/tag395.xml"/><Relationship Id="rId6" Type="http://schemas.openxmlformats.org/officeDocument/2006/relationships/tags" Target="../tags/tag400.xml"/><Relationship Id="rId11" Type="http://schemas.openxmlformats.org/officeDocument/2006/relationships/chart" Target="../charts/chart15.xml"/><Relationship Id="rId5" Type="http://schemas.openxmlformats.org/officeDocument/2006/relationships/tags" Target="../tags/tag399.xml"/><Relationship Id="rId10" Type="http://schemas.openxmlformats.org/officeDocument/2006/relationships/image" Target="../media/image1.emf"/><Relationship Id="rId4" Type="http://schemas.openxmlformats.org/officeDocument/2006/relationships/tags" Target="../tags/tag398.xml"/><Relationship Id="rId9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404.xml"/><Relationship Id="rId7" Type="http://schemas.openxmlformats.org/officeDocument/2006/relationships/tags" Target="../tags/tag408.xml"/><Relationship Id="rId2" Type="http://schemas.openxmlformats.org/officeDocument/2006/relationships/tags" Target="../tags/tag403.xml"/><Relationship Id="rId1" Type="http://schemas.openxmlformats.org/officeDocument/2006/relationships/tags" Target="../tags/tag402.xml"/><Relationship Id="rId6" Type="http://schemas.openxmlformats.org/officeDocument/2006/relationships/tags" Target="../tags/tag407.xml"/><Relationship Id="rId11" Type="http://schemas.openxmlformats.org/officeDocument/2006/relationships/chart" Target="../charts/chart16.xml"/><Relationship Id="rId5" Type="http://schemas.openxmlformats.org/officeDocument/2006/relationships/tags" Target="../tags/tag406.xml"/><Relationship Id="rId10" Type="http://schemas.openxmlformats.org/officeDocument/2006/relationships/image" Target="../media/image1.emf"/><Relationship Id="rId4" Type="http://schemas.openxmlformats.org/officeDocument/2006/relationships/tags" Target="../tags/tag405.xml"/><Relationship Id="rId9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416.xml"/><Relationship Id="rId13" Type="http://schemas.openxmlformats.org/officeDocument/2006/relationships/tags" Target="../tags/tag421.xml"/><Relationship Id="rId18" Type="http://schemas.openxmlformats.org/officeDocument/2006/relationships/tags" Target="../tags/tag426.xml"/><Relationship Id="rId26" Type="http://schemas.openxmlformats.org/officeDocument/2006/relationships/slideLayout" Target="../slideLayouts/slideLayout3.xml"/><Relationship Id="rId3" Type="http://schemas.openxmlformats.org/officeDocument/2006/relationships/tags" Target="../tags/tag411.xml"/><Relationship Id="rId21" Type="http://schemas.openxmlformats.org/officeDocument/2006/relationships/tags" Target="../tags/tag429.xml"/><Relationship Id="rId7" Type="http://schemas.openxmlformats.org/officeDocument/2006/relationships/tags" Target="../tags/tag415.xml"/><Relationship Id="rId12" Type="http://schemas.openxmlformats.org/officeDocument/2006/relationships/tags" Target="../tags/tag420.xml"/><Relationship Id="rId17" Type="http://schemas.openxmlformats.org/officeDocument/2006/relationships/tags" Target="../tags/tag425.xml"/><Relationship Id="rId25" Type="http://schemas.openxmlformats.org/officeDocument/2006/relationships/tags" Target="../tags/tag433.xml"/><Relationship Id="rId2" Type="http://schemas.openxmlformats.org/officeDocument/2006/relationships/tags" Target="../tags/tag410.xml"/><Relationship Id="rId16" Type="http://schemas.openxmlformats.org/officeDocument/2006/relationships/tags" Target="../tags/tag424.xml"/><Relationship Id="rId20" Type="http://schemas.openxmlformats.org/officeDocument/2006/relationships/tags" Target="../tags/tag428.xml"/><Relationship Id="rId29" Type="http://schemas.openxmlformats.org/officeDocument/2006/relationships/chart" Target="../charts/chart17.xml"/><Relationship Id="rId1" Type="http://schemas.openxmlformats.org/officeDocument/2006/relationships/tags" Target="../tags/tag409.xml"/><Relationship Id="rId6" Type="http://schemas.openxmlformats.org/officeDocument/2006/relationships/tags" Target="../tags/tag414.xml"/><Relationship Id="rId11" Type="http://schemas.openxmlformats.org/officeDocument/2006/relationships/tags" Target="../tags/tag419.xml"/><Relationship Id="rId24" Type="http://schemas.openxmlformats.org/officeDocument/2006/relationships/tags" Target="../tags/tag432.xml"/><Relationship Id="rId5" Type="http://schemas.openxmlformats.org/officeDocument/2006/relationships/tags" Target="../tags/tag413.xml"/><Relationship Id="rId15" Type="http://schemas.openxmlformats.org/officeDocument/2006/relationships/tags" Target="../tags/tag423.xml"/><Relationship Id="rId23" Type="http://schemas.openxmlformats.org/officeDocument/2006/relationships/tags" Target="../tags/tag431.xml"/><Relationship Id="rId28" Type="http://schemas.openxmlformats.org/officeDocument/2006/relationships/image" Target="../media/image1.emf"/><Relationship Id="rId10" Type="http://schemas.openxmlformats.org/officeDocument/2006/relationships/tags" Target="../tags/tag418.xml"/><Relationship Id="rId19" Type="http://schemas.openxmlformats.org/officeDocument/2006/relationships/tags" Target="../tags/tag427.xml"/><Relationship Id="rId4" Type="http://schemas.openxmlformats.org/officeDocument/2006/relationships/tags" Target="../tags/tag412.xml"/><Relationship Id="rId9" Type="http://schemas.openxmlformats.org/officeDocument/2006/relationships/tags" Target="../tags/tag417.xml"/><Relationship Id="rId14" Type="http://schemas.openxmlformats.org/officeDocument/2006/relationships/tags" Target="../tags/tag422.xml"/><Relationship Id="rId22" Type="http://schemas.openxmlformats.org/officeDocument/2006/relationships/tags" Target="../tags/tag430.xml"/><Relationship Id="rId27" Type="http://schemas.openxmlformats.org/officeDocument/2006/relationships/oleObject" Target="../embeddings/oleObject22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441.xml"/><Relationship Id="rId13" Type="http://schemas.openxmlformats.org/officeDocument/2006/relationships/tags" Target="../tags/tag446.xml"/><Relationship Id="rId18" Type="http://schemas.openxmlformats.org/officeDocument/2006/relationships/tags" Target="../tags/tag451.xml"/><Relationship Id="rId26" Type="http://schemas.openxmlformats.org/officeDocument/2006/relationships/slideLayout" Target="../slideLayouts/slideLayout3.xml"/><Relationship Id="rId3" Type="http://schemas.openxmlformats.org/officeDocument/2006/relationships/tags" Target="../tags/tag436.xml"/><Relationship Id="rId21" Type="http://schemas.openxmlformats.org/officeDocument/2006/relationships/tags" Target="../tags/tag454.xml"/><Relationship Id="rId7" Type="http://schemas.openxmlformats.org/officeDocument/2006/relationships/tags" Target="../tags/tag440.xml"/><Relationship Id="rId12" Type="http://schemas.openxmlformats.org/officeDocument/2006/relationships/tags" Target="../tags/tag445.xml"/><Relationship Id="rId17" Type="http://schemas.openxmlformats.org/officeDocument/2006/relationships/tags" Target="../tags/tag450.xml"/><Relationship Id="rId25" Type="http://schemas.openxmlformats.org/officeDocument/2006/relationships/tags" Target="../tags/tag458.xml"/><Relationship Id="rId2" Type="http://schemas.openxmlformats.org/officeDocument/2006/relationships/tags" Target="../tags/tag435.xml"/><Relationship Id="rId16" Type="http://schemas.openxmlformats.org/officeDocument/2006/relationships/tags" Target="../tags/tag449.xml"/><Relationship Id="rId20" Type="http://schemas.openxmlformats.org/officeDocument/2006/relationships/tags" Target="../tags/tag453.xml"/><Relationship Id="rId29" Type="http://schemas.openxmlformats.org/officeDocument/2006/relationships/chart" Target="../charts/chart18.xml"/><Relationship Id="rId1" Type="http://schemas.openxmlformats.org/officeDocument/2006/relationships/tags" Target="../tags/tag434.xml"/><Relationship Id="rId6" Type="http://schemas.openxmlformats.org/officeDocument/2006/relationships/tags" Target="../tags/tag439.xml"/><Relationship Id="rId11" Type="http://schemas.openxmlformats.org/officeDocument/2006/relationships/tags" Target="../tags/tag444.xml"/><Relationship Id="rId24" Type="http://schemas.openxmlformats.org/officeDocument/2006/relationships/tags" Target="../tags/tag457.xml"/><Relationship Id="rId5" Type="http://schemas.openxmlformats.org/officeDocument/2006/relationships/tags" Target="../tags/tag438.xml"/><Relationship Id="rId15" Type="http://schemas.openxmlformats.org/officeDocument/2006/relationships/tags" Target="../tags/tag448.xml"/><Relationship Id="rId23" Type="http://schemas.openxmlformats.org/officeDocument/2006/relationships/tags" Target="../tags/tag456.xml"/><Relationship Id="rId28" Type="http://schemas.openxmlformats.org/officeDocument/2006/relationships/image" Target="../media/image1.emf"/><Relationship Id="rId10" Type="http://schemas.openxmlformats.org/officeDocument/2006/relationships/tags" Target="../tags/tag443.xml"/><Relationship Id="rId19" Type="http://schemas.openxmlformats.org/officeDocument/2006/relationships/tags" Target="../tags/tag452.xml"/><Relationship Id="rId4" Type="http://schemas.openxmlformats.org/officeDocument/2006/relationships/tags" Target="../tags/tag437.xml"/><Relationship Id="rId9" Type="http://schemas.openxmlformats.org/officeDocument/2006/relationships/tags" Target="../tags/tag442.xml"/><Relationship Id="rId14" Type="http://schemas.openxmlformats.org/officeDocument/2006/relationships/tags" Target="../tags/tag447.xml"/><Relationship Id="rId22" Type="http://schemas.openxmlformats.org/officeDocument/2006/relationships/tags" Target="../tags/tag455.xml"/><Relationship Id="rId27" Type="http://schemas.openxmlformats.org/officeDocument/2006/relationships/oleObject" Target="../embeddings/oleObject23.bin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tags" Target="../tags/tag45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50" Type="http://schemas.openxmlformats.org/officeDocument/2006/relationships/image" Target="../media/image1.emf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41" Type="http://schemas.openxmlformats.org/officeDocument/2006/relationships/tags" Target="../tags/tag47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oleObject" Target="../embeddings/oleObject6.bin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slideLayout" Target="../slideLayouts/slideLayout3.xml"/><Relationship Id="rId8" Type="http://schemas.openxmlformats.org/officeDocument/2006/relationships/tags" Target="../tags/tag14.xml"/><Relationship Id="rId51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2" Type="http://schemas.openxmlformats.org/officeDocument/2006/relationships/tags" Target="../tags/tag55.xml"/><Relationship Id="rId16" Type="http://schemas.openxmlformats.org/officeDocument/2006/relationships/chart" Target="../charts/chart2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image" Target="../media/image1.emf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3" Type="http://schemas.openxmlformats.org/officeDocument/2006/relationships/tags" Target="../tags/tag68.xml"/><Relationship Id="rId21" Type="http://schemas.openxmlformats.org/officeDocument/2006/relationships/tags" Target="../tags/tag86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chart" Target="../charts/chart3.xml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0" Type="http://schemas.openxmlformats.org/officeDocument/2006/relationships/tags" Target="../tags/tag85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image" Target="../media/image1.emf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oleObject" Target="../embeddings/oleObject8.bin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2" Type="http://schemas.openxmlformats.org/officeDocument/2006/relationships/tags" Target="../tags/tag88.xml"/><Relationship Id="rId16" Type="http://schemas.openxmlformats.org/officeDocument/2006/relationships/chart" Target="../charts/chart4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5" Type="http://schemas.openxmlformats.org/officeDocument/2006/relationships/image" Target="../media/image1.emf"/><Relationship Id="rId10" Type="http://schemas.openxmlformats.org/officeDocument/2006/relationships/tags" Target="../tags/tag96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tags" Target="../tags/tag111.xml"/><Relationship Id="rId18" Type="http://schemas.openxmlformats.org/officeDocument/2006/relationships/tags" Target="../tags/tag116.xml"/><Relationship Id="rId26" Type="http://schemas.openxmlformats.org/officeDocument/2006/relationships/tags" Target="../tags/tag124.xml"/><Relationship Id="rId39" Type="http://schemas.openxmlformats.org/officeDocument/2006/relationships/tags" Target="../tags/tag137.xml"/><Relationship Id="rId3" Type="http://schemas.openxmlformats.org/officeDocument/2006/relationships/tags" Target="../tags/tag101.xml"/><Relationship Id="rId21" Type="http://schemas.openxmlformats.org/officeDocument/2006/relationships/tags" Target="../tags/tag119.xml"/><Relationship Id="rId34" Type="http://schemas.openxmlformats.org/officeDocument/2006/relationships/tags" Target="../tags/tag132.xml"/><Relationship Id="rId42" Type="http://schemas.openxmlformats.org/officeDocument/2006/relationships/slideLayout" Target="../slideLayouts/slideLayout3.xml"/><Relationship Id="rId7" Type="http://schemas.openxmlformats.org/officeDocument/2006/relationships/tags" Target="../tags/tag105.xml"/><Relationship Id="rId12" Type="http://schemas.openxmlformats.org/officeDocument/2006/relationships/tags" Target="../tags/tag110.xml"/><Relationship Id="rId17" Type="http://schemas.openxmlformats.org/officeDocument/2006/relationships/tags" Target="../tags/tag115.xml"/><Relationship Id="rId25" Type="http://schemas.openxmlformats.org/officeDocument/2006/relationships/tags" Target="../tags/tag123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46" Type="http://schemas.openxmlformats.org/officeDocument/2006/relationships/chart" Target="../charts/chart6.xml"/><Relationship Id="rId2" Type="http://schemas.openxmlformats.org/officeDocument/2006/relationships/tags" Target="../tags/tag100.xml"/><Relationship Id="rId16" Type="http://schemas.openxmlformats.org/officeDocument/2006/relationships/tags" Target="../tags/tag114.xml"/><Relationship Id="rId20" Type="http://schemas.openxmlformats.org/officeDocument/2006/relationships/tags" Target="../tags/tag118.xml"/><Relationship Id="rId29" Type="http://schemas.openxmlformats.org/officeDocument/2006/relationships/tags" Target="../tags/tag127.xml"/><Relationship Id="rId41" Type="http://schemas.openxmlformats.org/officeDocument/2006/relationships/tags" Target="../tags/tag139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24" Type="http://schemas.openxmlformats.org/officeDocument/2006/relationships/tags" Target="../tags/tag122.xml"/><Relationship Id="rId32" Type="http://schemas.openxmlformats.org/officeDocument/2006/relationships/tags" Target="../tags/tag130.xml"/><Relationship Id="rId37" Type="http://schemas.openxmlformats.org/officeDocument/2006/relationships/tags" Target="../tags/tag135.xml"/><Relationship Id="rId40" Type="http://schemas.openxmlformats.org/officeDocument/2006/relationships/tags" Target="../tags/tag138.xml"/><Relationship Id="rId45" Type="http://schemas.openxmlformats.org/officeDocument/2006/relationships/chart" Target="../charts/chart5.xml"/><Relationship Id="rId5" Type="http://schemas.openxmlformats.org/officeDocument/2006/relationships/tags" Target="../tags/tag103.xml"/><Relationship Id="rId15" Type="http://schemas.openxmlformats.org/officeDocument/2006/relationships/tags" Target="../tags/tag113.xml"/><Relationship Id="rId23" Type="http://schemas.openxmlformats.org/officeDocument/2006/relationships/tags" Target="../tags/tag121.xml"/><Relationship Id="rId28" Type="http://schemas.openxmlformats.org/officeDocument/2006/relationships/tags" Target="../tags/tag126.xml"/><Relationship Id="rId36" Type="http://schemas.openxmlformats.org/officeDocument/2006/relationships/tags" Target="../tags/tag134.xml"/><Relationship Id="rId10" Type="http://schemas.openxmlformats.org/officeDocument/2006/relationships/tags" Target="../tags/tag108.xml"/><Relationship Id="rId19" Type="http://schemas.openxmlformats.org/officeDocument/2006/relationships/tags" Target="../tags/tag117.xml"/><Relationship Id="rId31" Type="http://schemas.openxmlformats.org/officeDocument/2006/relationships/tags" Target="../tags/tag129.xml"/><Relationship Id="rId44" Type="http://schemas.openxmlformats.org/officeDocument/2006/relationships/image" Target="../media/image1.emf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Relationship Id="rId22" Type="http://schemas.openxmlformats.org/officeDocument/2006/relationships/tags" Target="../tags/tag120.xml"/><Relationship Id="rId27" Type="http://schemas.openxmlformats.org/officeDocument/2006/relationships/tags" Target="../tags/tag125.xml"/><Relationship Id="rId30" Type="http://schemas.openxmlformats.org/officeDocument/2006/relationships/tags" Target="../tags/tag128.xml"/><Relationship Id="rId35" Type="http://schemas.openxmlformats.org/officeDocument/2006/relationships/tags" Target="../tags/tag133.xml"/><Relationship Id="rId43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0F026E1-D27D-3777-9BB5-CD07A2ED5E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735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F026E1-D27D-3777-9BB5-CD07A2ED5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Google Shape;39;p1"/>
          <p:cNvSpPr txBox="1">
            <a:spLocks noGrp="1"/>
          </p:cNvSpPr>
          <p:nvPr>
            <p:ph type="body" idx="1"/>
          </p:nvPr>
        </p:nvSpPr>
        <p:spPr>
          <a:xfrm>
            <a:off x="198035" y="3987800"/>
            <a:ext cx="4165600" cy="505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89D56"/>
              </a:buClr>
              <a:buSzPts val="1300"/>
              <a:buNone/>
            </a:pPr>
            <a:r>
              <a:rPr lang="tr-TR" dirty="0"/>
              <a:t>Aralık</a:t>
            </a:r>
            <a:r>
              <a:rPr lang="en-US" dirty="0"/>
              <a:t> 2024, </a:t>
            </a:r>
            <a:endParaRPr dirty="0"/>
          </a:p>
          <a:p>
            <a:pPr marL="0" lvl="0" indent="0" algn="l" rtl="0">
              <a:spcBef>
                <a:spcPts val="260"/>
              </a:spcBef>
              <a:spcAft>
                <a:spcPts val="0"/>
              </a:spcAft>
              <a:buClr>
                <a:srgbClr val="F89D56"/>
              </a:buClr>
              <a:buSzPts val="1300"/>
              <a:buNone/>
            </a:pPr>
            <a:r>
              <a:rPr lang="tr-TR" dirty="0" err="1"/>
              <a:t>Fintegral</a:t>
            </a:r>
            <a:r>
              <a:rPr lang="tr-TR" dirty="0"/>
              <a:t> </a:t>
            </a:r>
            <a:r>
              <a:rPr lang="tr-TR" dirty="0" err="1"/>
              <a:t>Consulting</a:t>
            </a:r>
            <a:endParaRPr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2D668ED-59D5-E382-7A19-33ECD1C992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Türkiye’nin Tekstil Sektöründeki Durumu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3008C5-8A0A-3EC1-5143-E8938C2616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8818FE0-F6D2-8128-546D-6E39D1DC2B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5008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425" imgH="426" progId="TCLayout.ActiveDocument.1">
                  <p:embed/>
                </p:oleObj>
              </mc:Choice>
              <mc:Fallback>
                <p:oleObj name="think-cell Slide" r:id="rId55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818FE0-F6D2-8128-546D-6E39D1DC2B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494C7DF-21F7-91E5-36CE-1826B474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ürkiye’nin Toplam İhracatı ve İthalatı</a:t>
            </a:r>
          </a:p>
        </p:txBody>
      </p:sp>
      <p:graphicFrame>
        <p:nvGraphicFramePr>
          <p:cNvPr id="93" name="Chart 92">
            <a:extLst>
              <a:ext uri="{FF2B5EF4-FFF2-40B4-BE49-F238E27FC236}">
                <a16:creationId xmlns:a16="http://schemas.microsoft.com/office/drawing/2014/main" id="{DE77270F-3102-B7B5-8273-11416041B91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260582"/>
              </p:ext>
            </p:extLst>
          </p:nvPr>
        </p:nvGraphicFramePr>
        <p:xfrm>
          <a:off x="1066800" y="1176338"/>
          <a:ext cx="9698038" cy="1993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189" name="Rectangle 188">
            <a:extLst>
              <a:ext uri="{FF2B5EF4-FFF2-40B4-BE49-F238E27FC236}">
                <a16:creationId xmlns:a16="http://schemas.microsoft.com/office/drawing/2014/main" id="{C76CD896-0E1A-3D53-745B-F0D8E0C469A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858500" y="2997200"/>
            <a:ext cx="904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F8A3E94-83DF-4553-A42A-768D7E4B12F7}" type="datetime'''''''''''''''''''''''''''0'''''''''''''''''''''''''''''''''''">
              <a:rPr lang="tr-TR" altLang="en-US" kern="1200" smtClean="0">
                <a:solidFill>
                  <a:schemeClr val="tx1"/>
                </a:solidFill>
              </a:rPr>
              <a:pPr/>
              <a:t>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4182C714-DFCC-74E1-51C2-72BFBFF2291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0858500" y="2632075"/>
            <a:ext cx="1809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C2A8B08-FA7C-4C80-B7A4-8706236CB95C}" type="datetime'''''''''''''''''''''5''''''''''''''''''''''''0'''''''">
              <a:rPr lang="tr-TR" altLang="en-US" kern="1200" smtClean="0">
                <a:solidFill>
                  <a:schemeClr val="tx1"/>
                </a:solidFill>
              </a:rPr>
              <a:pPr/>
              <a:t>5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2D17B87C-81A7-4E09-84F8-A7B8608123CD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0858500" y="2265363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E9F2527-DDB2-4517-AD6C-7DC367B0CDC1}" type="datetime'''1''''''''''''''0''''''''''''0'''''''''''">
              <a:rPr lang="tr-TR" altLang="en-US" kern="1200" smtClean="0">
                <a:solidFill>
                  <a:schemeClr val="tx1"/>
                </a:solidFill>
              </a:rPr>
              <a:pPr/>
              <a:t>100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FC970EE3-9902-FC13-75A5-0A04B78A3A9D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0858500" y="1900238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73DEF82-E476-43AC-9FEE-8D36E4FD0FFA}" type="datetime'''''''''''''''''1''''''''''''''''''50'''''''''''''''''">
              <a:rPr lang="tr-TR" altLang="en-US" kern="1200" smtClean="0">
                <a:solidFill>
                  <a:schemeClr val="tx1"/>
                </a:solidFill>
              </a:rPr>
              <a:pPr/>
              <a:t>15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30265C5A-37E6-113F-F4BF-0077EE144959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0858500" y="1533525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584DB72-9A97-41C3-A378-36162D07D2D7}" type="datetime'2''''''''''''''''''''''''''''''''''''0''0'''''''''''''''">
              <a:rPr lang="tr-TR" altLang="en-US" kern="1200" smtClean="0">
                <a:solidFill>
                  <a:schemeClr val="tx1"/>
                </a:solidFill>
              </a:rPr>
              <a:pPr/>
              <a:t>20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E71DB78E-4EF8-85CE-8D51-459202858ACE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0858500" y="1168400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A97584F-971E-4801-9CC7-1D9F436E8F89}" type="datetime'''''''''''''''''''''2''''''''''''''''''''''50'''''">
              <a:rPr lang="tr-TR" altLang="en-US" kern="1200" smtClean="0">
                <a:solidFill>
                  <a:schemeClr val="tx1"/>
                </a:solidFill>
              </a:rPr>
              <a:pPr/>
              <a:t>250</a:t>
            </a:fld>
            <a:endParaRPr lang="tr-TR" kern="1200" dirty="0">
              <a:solidFill>
                <a:schemeClr val="tx1"/>
              </a:solidFill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E7C7B5E0-BFBA-5A9D-AA77-D1ACF0DBF9A6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10206038" y="119062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FD704EA1-5A9F-B95E-4162-5CE556574395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H="1">
            <a:off x="8299450" y="1190625"/>
            <a:ext cx="19065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6FD1D3C8-EE05-89A3-ED51-23403129A4D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299450" y="1190624"/>
            <a:ext cx="0" cy="4635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5" name="Arrow: Right 284">
            <a:extLst>
              <a:ext uri="{FF2B5EF4-FFF2-40B4-BE49-F238E27FC236}">
                <a16:creationId xmlns:a16="http://schemas.microsoft.com/office/drawing/2014/main" id="{7D59A9A3-00EF-EA92-05E5-03C594F5F1D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969963" y="17018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1B8AA56F-7C2A-92A3-6FEC-0F9B187F57EA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 flipH="1">
            <a:off x="1149350" y="1778000"/>
            <a:ext cx="95329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F5842763-BD17-E9ED-BD9B-BD9C24B12B02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438275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9A30A6-EB71-631A-A532-DC1B142F9D48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392363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9753055-C5C9-41BA-6C9B-07CAE3C2555E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344863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B91B6A7-24F4-21AE-5638-F5D957F40BC8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298950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12A7A726-9E0C-E2A6-E28E-C2D12119382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251450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76FCE5C-FD68-2523-A93B-ED14B229FEFB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205538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15A6DFE4-32B0-DB61-26A6-6079F6FF0F68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7158038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C548783-4FA3-D807-5501-548A7A753E00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112125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683F8E8F-1C49-F211-9DE4-8976BD0B71F7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9064625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50E769E-FE86-3420-EC6C-7B5699ED7591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0018713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6E482385-6772-75BE-B6DE-3CE8B428F80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47700" y="1671639"/>
            <a:ext cx="27146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FB1492B-2BE9-4D09-BCB7-45EB02171FFD}" type="datetime'''''''''''''''''1''''7''''9'''''''''''''''''''''''''''">
              <a:rPr lang="tr-TR" altLang="en-US" kern="12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79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814524E3-76D7-7B25-A29A-35B84A6DBA5A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1272838" y="1365251"/>
            <a:ext cx="244475" cy="16176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800" kern="1200" dirty="0">
                <a:solidFill>
                  <a:schemeClr val="tx1"/>
                </a:solidFill>
                <a:effectLst/>
              </a:rPr>
              <a:t>Türkiye’nin İhracat Hacmi (Milyar Dolar)</a:t>
            </a:r>
            <a:endParaRPr lang="tr-TR" sz="800" kern="1200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tr-TR" sz="800" kern="1200" dirty="0">
              <a:solidFill>
                <a:schemeClr val="tx1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BBFAEF73-EE29-1085-D714-64D5706EBF50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5834063" y="3502025"/>
            <a:ext cx="1635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Yıl</a:t>
            </a:r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49FE0814-BC2A-C533-BFC5-BA6A8B44DC4A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8820150" y="1039813"/>
            <a:ext cx="863600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 dirty="0">
                <a:solidFill>
                  <a:schemeClr val="tx1"/>
                </a:solidFill>
                <a:effectLst/>
              </a:rPr>
              <a:t>+</a:t>
            </a:r>
            <a:fld id="{33C8DAFB-3463-4753-8F91-9846DF61FDCC}" type="datetime'18,24''''''''''''%''''''''''''''''''''''''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18,24%</a:t>
            </a:fld>
            <a:endParaRPr lang="tr-TR" b="1" kern="1200" dirty="0">
              <a:solidFill>
                <a:schemeClr val="tx1"/>
              </a:solidFill>
            </a:endParaRPr>
          </a:p>
        </p:txBody>
      </p:sp>
      <p:graphicFrame>
        <p:nvGraphicFramePr>
          <p:cNvPr id="165" name="Chart 164">
            <a:extLst>
              <a:ext uri="{FF2B5EF4-FFF2-40B4-BE49-F238E27FC236}">
                <a16:creationId xmlns:a16="http://schemas.microsoft.com/office/drawing/2014/main" id="{A483A3FE-4B07-04DB-38AA-7B6AF7003400}"/>
              </a:ext>
            </a:extLst>
          </p:cNvPr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400568765"/>
              </p:ext>
            </p:extLst>
          </p:nvPr>
        </p:nvGraphicFramePr>
        <p:xfrm>
          <a:off x="1066800" y="3703638"/>
          <a:ext cx="9698038" cy="2273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sp>
        <p:nvSpPr>
          <p:cNvPr id="246" name="Rectangle 245">
            <a:extLst>
              <a:ext uri="{FF2B5EF4-FFF2-40B4-BE49-F238E27FC236}">
                <a16:creationId xmlns:a16="http://schemas.microsoft.com/office/drawing/2014/main" id="{9B5B14ED-2D26-56ED-76F0-5573722F873A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10858500" y="5803900"/>
            <a:ext cx="904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63A9E2-9C61-4F9F-A2DF-B63D7ACB67AD}" type="datetime'''''''''''''''''''''''0'''''''''''''''''''''''''''''''''">
              <a:rPr lang="tr-TR" altLang="en-US" kern="1200" smtClean="0">
                <a:solidFill>
                  <a:schemeClr val="tx1"/>
                </a:solidFill>
              </a:rPr>
              <a:pPr/>
              <a:t>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44A497C9-9A0F-9FCD-28AA-D30CC5DA1AEB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10858500" y="5381625"/>
            <a:ext cx="1809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7650448-7800-4F57-B28F-4D81A6B28E39}" type="datetime'''''''''''''''''''''''''''''''''5''0'''">
              <a:rPr lang="tr-TR" altLang="en-US" kern="1200" smtClean="0">
                <a:solidFill>
                  <a:schemeClr val="tx1"/>
                </a:solidFill>
              </a:rPr>
              <a:pPr/>
              <a:t>5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EBD4604C-6BBF-A120-0FA7-FB2DB91E6CCC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10858500" y="4960938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05BC042-C758-4E5A-879E-C80EE24DE135}" type="datetime'''''''''''''''''''''''''''''1''''0''''''''0'''''''''''">
              <a:rPr lang="tr-TR" altLang="en-US" kern="1200" smtClean="0">
                <a:solidFill>
                  <a:schemeClr val="tx1"/>
                </a:solidFill>
              </a:rPr>
              <a:pPr/>
              <a:t>10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9319FBA3-6ACC-4F19-C7A1-06F9D76F5CEB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10858500" y="4538663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774EAA4-C551-4F43-92A0-0C87C501EF5F}" type="datetime'''''''''''''''''''''''1''''''''''5''''0'''''''''''''''">
              <a:rPr lang="tr-TR" altLang="en-US" kern="1200" smtClean="0">
                <a:solidFill>
                  <a:schemeClr val="tx1"/>
                </a:solidFill>
              </a:rPr>
              <a:pPr/>
              <a:t>15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80BEA3FB-5017-FC98-7A71-41C4CC9D5581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10858500" y="4117975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2835339-284B-4CA5-B8E8-DE698E83A2D4}" type="datetime'''''''''''''''''''''''2''''''0''''''0'''''">
              <a:rPr lang="tr-TR" altLang="en-US" kern="1200" smtClean="0">
                <a:solidFill>
                  <a:schemeClr val="tx1"/>
                </a:solidFill>
              </a:rPr>
              <a:pPr/>
              <a:t>20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B6FBCB18-B77E-1A83-005F-362BB0BCD146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10858500" y="3695700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2A8796D-C979-4A73-8874-2E14F2E1D85E}" type="datetime'''''''''''''''''''''2''''''''''''''5''''0'''''''''''''">
              <a:rPr lang="tr-TR" altLang="en-US" kern="1200" smtClean="0">
                <a:solidFill>
                  <a:schemeClr val="tx1"/>
                </a:solidFill>
              </a:rPr>
              <a:pPr/>
              <a:t>250</a:t>
            </a:fld>
            <a:endParaRPr lang="tr-TR" kern="1200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1533FBF-663A-6538-2E6F-ECBC8B01235B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 flipV="1">
            <a:off x="8299450" y="3609975"/>
            <a:ext cx="0" cy="6064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976A05-1CDE-B84A-0274-0E853EE30587}"/>
              </a:ext>
            </a:extLst>
          </p:cNvPr>
          <p:cNvCxnSpPr>
            <a:cxnSpLocks/>
          </p:cNvCxnSpPr>
          <p:nvPr>
            <p:custDataLst>
              <p:tags r:id="rId36"/>
            </p:custDataLst>
          </p:nvPr>
        </p:nvCxnSpPr>
        <p:spPr bwMode="auto">
          <a:xfrm>
            <a:off x="8299450" y="3609975"/>
            <a:ext cx="19065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3036054-8716-B9B4-E7C6-A9D3B721CD7D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0206038" y="360997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Arrow: Right 9">
            <a:extLst>
              <a:ext uri="{FF2B5EF4-FFF2-40B4-BE49-F238E27FC236}">
                <a16:creationId xmlns:a16="http://schemas.microsoft.com/office/drawing/2014/main" id="{3BD6FA32-8681-2CAB-3B2F-FF3E28B2681E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969963" y="40005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72908240-AD6D-E83C-37E4-E1C09A1E34A5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 bwMode="auto">
          <a:xfrm flipH="1">
            <a:off x="1149349" y="4076700"/>
            <a:ext cx="95329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10FC18C1-2C7A-7170-F8C9-E2477CDD3BE4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438275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7357094-F0A5-40F7-9C37-191D26758A1A}" type="datetime'''2''''''''''''''''''''''''''''0''''''''''''''12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5555A2-46DA-5F3C-551E-5624FF84D3A9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2392363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CB3C23-C844-4CBC-B494-C9B257EE554D}" type="datetime'''''''''''''''''''''20''1''''''''''''3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B9D5592-BF8E-5D18-70E3-12EB14B742A1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3344863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59D771D-8651-4AFA-B096-2BCF7EAB1CD9}" type="datetime'''''''''''''''''''''''''''''2''''''''''0''''''''''14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9E07A70-0384-4B03-06F6-C292D004509E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4298950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CEE2AD-E184-4C0B-AFE7-EF5F687CFA6E}" type="datetime'''''''''''2''''''''''''''''''''''''''''''0''1''''5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C46F6A-F602-7E71-ED51-52E7749576E3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5251450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1D923C6-735B-4B42-9726-FCA503556A41}" type="datetime'''20''''''''''''''''''''''''''''''1''''''6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47344C4-26EB-33B2-D4B4-0751DB29F233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6205538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12C76F-2322-478C-B7B4-AF0F3E13ADE5}" type="datetime'''''''''''''''''''''''''''''''2''0''''1''''''''''''7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F6AD5C7-A638-D5C5-A363-318B328936AC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7158038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AE4D03C-6354-4765-B1C4-89C1D398542E}" type="datetime'''''''2''''''''''''''''''''''''0''''''''''''''1''8''''''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78829A-8528-700A-1D81-A87AA8E45FCE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8112125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3C5201-69CC-4C8E-8D2E-10E83DB3BE70}" type="datetime'''''''''2''0''''''''''''''1''''''''''''''''''9''''''''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868D60-8117-A546-100E-5598B2250F65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9064625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01F9522-6FB2-4A20-874A-053EDB3D6808}" type="datetime'''''''''''''''''2''0''''''''''''''2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D2B0EA9-7D55-D349-F6A8-3B90E5E21975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10018713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C688BA-8D22-475A-9D58-F582636BC819}" type="datetime'''''202''''''''''''''''''''''''''''''''''''''''''''''''''''1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B09460D-771F-F59E-9700-9F51C1B0761E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647700" y="3970338"/>
            <a:ext cx="27146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93DEA03-64F3-44F5-8199-D7D07417E926}" type="datetime'''''2''1''6'''''''''''''''''''''''''''''''''''''''''''''">
              <a:rPr lang="tr-TR" altLang="en-US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16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7D1301F8-0B3A-24EE-FF39-7340C52E26F7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11272838" y="4043363"/>
            <a:ext cx="122238" cy="15954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800" kern="1200" dirty="0">
                <a:solidFill>
                  <a:schemeClr val="tx1"/>
                </a:solidFill>
                <a:effectLst/>
              </a:rPr>
              <a:t>Türkiye’nin İthalat Hacmi (Milyar Dolar)</a:t>
            </a:r>
            <a:endParaRPr lang="tr-TR" sz="800" kern="1200" dirty="0">
              <a:solidFill>
                <a:schemeClr val="tx1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76C6873B-F949-C59E-18C1-41E5419393AE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5834063" y="6308725"/>
            <a:ext cx="1635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Yıl</a:t>
            </a:r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F957808-5E41-FE55-91EF-002E1676BB95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8820149" y="3459163"/>
            <a:ext cx="863600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 dirty="0">
                <a:solidFill>
                  <a:schemeClr val="tx1"/>
                </a:solidFill>
                <a:effectLst/>
              </a:rPr>
              <a:t>+</a:t>
            </a:r>
            <a:fld id="{BB1E5798-6443-4556-BF8A-321F487C2BE8}" type="datetime'21'''''''''''''''''',''72''''''%''''''''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21,72%</a:t>
            </a:fld>
            <a:endParaRPr lang="tr-TR" b="1" kern="1200" dirty="0">
              <a:solidFill>
                <a:schemeClr val="tx1"/>
              </a:solidFill>
            </a:endParaRP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A6AAE956-9444-9171-E149-C6E43541D97C}"/>
              </a:ext>
            </a:extLst>
          </p:cNvPr>
          <p:cNvSpPr/>
          <p:nvPr/>
        </p:nvSpPr>
        <p:spPr>
          <a:xfrm>
            <a:off x="9429443" y="536951"/>
            <a:ext cx="5977143" cy="212393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 err="1">
                <a:solidFill>
                  <a:schemeClr val="tx1"/>
                </a:solidFill>
              </a:rPr>
              <a:t>Repetetive</a:t>
            </a:r>
            <a:r>
              <a:rPr lang="tr-TR" sz="1800" b="1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2000" b="1" dirty="0" err="1">
                <a:solidFill>
                  <a:schemeClr val="tx1"/>
                </a:solidFill>
              </a:rPr>
              <a:t>Resmi</a:t>
            </a:r>
            <a:r>
              <a:rPr lang="en-US" sz="2000" b="1" dirty="0">
                <a:solidFill>
                  <a:schemeClr val="tx1"/>
                </a:solidFill>
              </a:rPr>
              <a:t> </a:t>
            </a:r>
            <a:r>
              <a:rPr lang="en-US" sz="2000" b="1" dirty="0" err="1">
                <a:solidFill>
                  <a:schemeClr val="tx1"/>
                </a:solidFill>
              </a:rPr>
              <a:t>renkleri</a:t>
            </a:r>
            <a:r>
              <a:rPr lang="en-US" sz="2000" b="1" dirty="0">
                <a:solidFill>
                  <a:schemeClr val="tx1"/>
                </a:solidFill>
              </a:rPr>
              <a:t> </a:t>
            </a:r>
            <a:r>
              <a:rPr lang="en-US" sz="2000" b="1" dirty="0" err="1">
                <a:solidFill>
                  <a:schemeClr val="tx1"/>
                </a:solidFill>
              </a:rPr>
              <a:t>kullanalım</a:t>
            </a:r>
            <a:endParaRPr lang="en-US" sz="2000" b="1" dirty="0">
              <a:solidFill>
                <a:schemeClr val="tx1"/>
              </a:solidFill>
            </a:endParaRPr>
          </a:p>
          <a:p>
            <a:pPr algn="ctr"/>
            <a:r>
              <a:rPr lang="en-US" sz="2000" b="1" dirty="0" err="1">
                <a:solidFill>
                  <a:schemeClr val="tx1"/>
                </a:solidFill>
              </a:rPr>
              <a:t>Kaynakça</a:t>
            </a:r>
            <a:r>
              <a:rPr lang="en-US" sz="2000" b="1" dirty="0">
                <a:solidFill>
                  <a:schemeClr val="tx1"/>
                </a:solidFill>
              </a:rPr>
              <a:t> yok</a:t>
            </a:r>
          </a:p>
          <a:p>
            <a:pPr algn="ctr"/>
            <a:r>
              <a:rPr lang="en-US" sz="2000" b="1" dirty="0" err="1">
                <a:solidFill>
                  <a:schemeClr val="tx1"/>
                </a:solidFill>
              </a:rPr>
              <a:t>Başlıkta</a:t>
            </a:r>
            <a:r>
              <a:rPr lang="en-US" sz="2000" b="1" dirty="0">
                <a:solidFill>
                  <a:schemeClr val="tx1"/>
                </a:solidFill>
              </a:rPr>
              <a:t> </a:t>
            </a:r>
            <a:r>
              <a:rPr lang="en-US" sz="2000" b="1" dirty="0" err="1">
                <a:solidFill>
                  <a:schemeClr val="tx1"/>
                </a:solidFill>
              </a:rPr>
              <a:t>yıllar</a:t>
            </a:r>
            <a:r>
              <a:rPr lang="en-US" sz="2000" b="1" dirty="0">
                <a:solidFill>
                  <a:schemeClr val="tx1"/>
                </a:solidFill>
              </a:rPr>
              <a:t> yok</a:t>
            </a:r>
          </a:p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7813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66640A-03DA-7B9F-E794-8070D784E4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418FDB3-68EC-E483-A5C7-C27EB9BEEE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8658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25" imgH="426" progId="TCLayout.ActiveDocument.1">
                  <p:embed/>
                </p:oleObj>
              </mc:Choice>
              <mc:Fallback>
                <p:oleObj name="think-cell Slide" r:id="rId1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18FDB3-68EC-E483-A5C7-C27EB9BEEE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4C6A3F-5ECD-7E3D-5CEE-7C435460A0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Dünyadaki Tekstil Ticaret Hacminin Toplam Ticaret Hacmine Oranı</a:t>
            </a:r>
          </a:p>
        </p:txBody>
      </p:sp>
      <p:graphicFrame>
        <p:nvGraphicFramePr>
          <p:cNvPr id="166" name="Chart 165">
            <a:extLst>
              <a:ext uri="{FF2B5EF4-FFF2-40B4-BE49-F238E27FC236}">
                <a16:creationId xmlns:a16="http://schemas.microsoft.com/office/drawing/2014/main" id="{44B67C53-2485-D018-27FB-128F2503259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6374545"/>
              </p:ext>
            </p:extLst>
          </p:nvPr>
        </p:nvGraphicFramePr>
        <p:xfrm>
          <a:off x="182563" y="1109663"/>
          <a:ext cx="11296650" cy="514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5C37EC03-2791-9D51-BF2D-AE023B3DC68B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0955338" y="2667001"/>
            <a:ext cx="0" cy="10207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493A1725-89D2-C50C-61AF-C068F1B4A70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8647114" y="2667000"/>
            <a:ext cx="23082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CB05B057-4874-BB30-C991-47F6CA85AF9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647113" y="2667001"/>
            <a:ext cx="0" cy="3270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5" name="Arrow: Right 284">
            <a:extLst>
              <a:ext uri="{FF2B5EF4-FFF2-40B4-BE49-F238E27FC236}">
                <a16:creationId xmlns:a16="http://schemas.microsoft.com/office/drawing/2014/main" id="{AC014952-765E-58B1-8663-3CD96289C55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85763" y="31972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CAB51130-A452-83CD-6FF4-1237A41290F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>
            <a:off x="565150" y="3273425"/>
            <a:ext cx="103901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5" name="Rectangle 264">
            <a:extLst>
              <a:ext uri="{FF2B5EF4-FFF2-40B4-BE49-F238E27FC236}">
                <a16:creationId xmlns:a16="http://schemas.microsoft.com/office/drawing/2014/main" id="{60BFA355-7712-6726-0F10-A414E2E8441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678488" y="6210300"/>
            <a:ext cx="1635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Yıl</a:t>
            </a:r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7B708CE-1A03-2D90-A1E1-1BB5DB09662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1498263" y="1069975"/>
            <a:ext cx="212725" cy="49180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Dünyadaki Tekstil Ticaret Hacminin Toplam Ticaret Hacmine Oranı (%)</a:t>
            </a:r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82637249-2F31-9DE2-D26C-5975CF7ED98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44475" y="3167063"/>
            <a:ext cx="904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A9BCC9D-FD62-4691-A03F-0F8729E00D3B}" type="datetime'''7'''''''''''''''''''''''''''''''''''''''''''''''''''''">
              <a:rPr lang="tr-TR" altLang="en-US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57B8B239-5D7F-0E8A-BD39-D3FB333FA216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9456738" y="2516188"/>
            <a:ext cx="690563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 dirty="0">
                <a:solidFill>
                  <a:schemeClr val="tx1"/>
                </a:solidFill>
              </a:rPr>
              <a:t>-</a:t>
            </a:r>
            <a:fld id="{0E61E542-E444-4B59-A687-44B70125A4AA}" type="datetime'''''''''''''''''''''''''''''''''''''''''6,9''''1''''''''''''%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6,91%</a:t>
            </a:fld>
            <a:endParaRPr lang="tr-TR" b="1" kern="1200" dirty="0">
              <a:solidFill>
                <a:schemeClr val="tx1"/>
              </a:solidFill>
            </a:endParaRP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EB3B0F1C-0D97-4033-6E6F-432DBE7AA617}"/>
              </a:ext>
            </a:extLst>
          </p:cNvPr>
          <p:cNvSpPr/>
          <p:nvPr/>
        </p:nvSpPr>
        <p:spPr>
          <a:xfrm>
            <a:off x="9429443" y="536951"/>
            <a:ext cx="5977143" cy="212393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Dünyadaki hacim Türkiye’den daha hızlı azalıyorsa bu ne demek? Karşındaki kişiye bunu açıklaman lazım.</a:t>
            </a:r>
          </a:p>
          <a:p>
            <a:pPr algn="ctr"/>
            <a:r>
              <a:rPr lang="en-US" sz="2000" b="1" dirty="0" err="1">
                <a:solidFill>
                  <a:schemeClr val="tx1"/>
                </a:solidFill>
              </a:rPr>
              <a:t>Resmi</a:t>
            </a:r>
            <a:r>
              <a:rPr lang="en-US" sz="2000" b="1" dirty="0">
                <a:solidFill>
                  <a:schemeClr val="tx1"/>
                </a:solidFill>
              </a:rPr>
              <a:t> </a:t>
            </a:r>
            <a:r>
              <a:rPr lang="en-US" sz="2000" b="1" dirty="0" err="1">
                <a:solidFill>
                  <a:schemeClr val="tx1"/>
                </a:solidFill>
              </a:rPr>
              <a:t>renkleri</a:t>
            </a:r>
            <a:r>
              <a:rPr lang="en-US" sz="2000" b="1" dirty="0">
                <a:solidFill>
                  <a:schemeClr val="tx1"/>
                </a:solidFill>
              </a:rPr>
              <a:t> </a:t>
            </a:r>
            <a:r>
              <a:rPr lang="en-US" sz="2000" b="1" dirty="0" err="1">
                <a:solidFill>
                  <a:schemeClr val="tx1"/>
                </a:solidFill>
              </a:rPr>
              <a:t>kullanalım</a:t>
            </a:r>
            <a:endParaRPr lang="en-US" sz="2000" b="1" dirty="0">
              <a:solidFill>
                <a:schemeClr val="tx1"/>
              </a:solidFill>
            </a:endParaRPr>
          </a:p>
          <a:p>
            <a:pPr algn="ctr"/>
            <a:r>
              <a:rPr lang="en-US" sz="2000" b="1" dirty="0" err="1">
                <a:solidFill>
                  <a:schemeClr val="tx1"/>
                </a:solidFill>
              </a:rPr>
              <a:t>Kaynakça</a:t>
            </a:r>
            <a:r>
              <a:rPr lang="en-US" sz="2000" b="1" dirty="0">
                <a:solidFill>
                  <a:schemeClr val="tx1"/>
                </a:solidFill>
              </a:rPr>
              <a:t> yok</a:t>
            </a:r>
          </a:p>
          <a:p>
            <a:pPr algn="ctr"/>
            <a:r>
              <a:rPr lang="en-US" sz="2000" b="1" dirty="0" err="1">
                <a:solidFill>
                  <a:schemeClr val="tx1"/>
                </a:solidFill>
              </a:rPr>
              <a:t>Başlıkta</a:t>
            </a:r>
            <a:r>
              <a:rPr lang="en-US" sz="2000" b="1" dirty="0">
                <a:solidFill>
                  <a:schemeClr val="tx1"/>
                </a:solidFill>
              </a:rPr>
              <a:t> </a:t>
            </a:r>
            <a:r>
              <a:rPr lang="en-US" sz="2000" b="1" dirty="0" err="1">
                <a:solidFill>
                  <a:schemeClr val="tx1"/>
                </a:solidFill>
              </a:rPr>
              <a:t>yıllar</a:t>
            </a:r>
            <a:r>
              <a:rPr lang="en-US" sz="2000" b="1" dirty="0">
                <a:solidFill>
                  <a:schemeClr val="tx1"/>
                </a:solidFill>
              </a:rPr>
              <a:t> yok</a:t>
            </a:r>
          </a:p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4466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F7FA57-679C-8D83-BAF8-4B4395B3C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B908067-76D3-DB92-2C9F-4A82BAF44D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3061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908067-76D3-DB92-2C9F-4A82BAF44D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5BAC77-4AE8-6536-1152-C5E4BECFE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5-) </a:t>
            </a:r>
            <a:r>
              <a:rPr lang="tr-TR" dirty="0" err="1"/>
              <a:t>Turkiye'nin</a:t>
            </a:r>
            <a:r>
              <a:rPr lang="tr-TR" dirty="0"/>
              <a:t> tekstilde ihracat ve ithalat.xlsx </a:t>
            </a:r>
            <a:r>
              <a:rPr lang="tr-TR" dirty="0" err="1"/>
              <a:t>tree</a:t>
            </a:r>
            <a:r>
              <a:rPr lang="tr-TR" dirty="0"/>
              <a:t> </a:t>
            </a:r>
            <a:r>
              <a:rPr lang="tr-TR" dirty="0" err="1"/>
              <a:t>mapleri</a:t>
            </a:r>
            <a:r>
              <a:rPr lang="tr-TR" dirty="0"/>
              <a:t> 6 tane (Yapamadım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CFFDA1-43FA-B247-6E8D-6AAE29D0EF5C}"/>
              </a:ext>
            </a:extLst>
          </p:cNvPr>
          <p:cNvSpPr/>
          <p:nvPr/>
        </p:nvSpPr>
        <p:spPr>
          <a:xfrm>
            <a:off x="762000" y="1962150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İhraca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F769D5E-D2C2-D352-0B7A-3B210F2C7A3B}"/>
              </a:ext>
            </a:extLst>
          </p:cNvPr>
          <p:cNvSpPr/>
          <p:nvPr/>
        </p:nvSpPr>
        <p:spPr>
          <a:xfrm>
            <a:off x="762000" y="4201648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İthala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409F0A-9089-8A07-7798-8DD52DCC1261}"/>
              </a:ext>
            </a:extLst>
          </p:cNvPr>
          <p:cNvSpPr/>
          <p:nvPr/>
        </p:nvSpPr>
        <p:spPr>
          <a:xfrm>
            <a:off x="2628900" y="5535148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2012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5F63395-C47E-ABB4-E208-916F59C4D429}"/>
              </a:ext>
            </a:extLst>
          </p:cNvPr>
          <p:cNvSpPr/>
          <p:nvPr/>
        </p:nvSpPr>
        <p:spPr>
          <a:xfrm>
            <a:off x="6014991" y="5535148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2017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759EB2-542F-D19B-FEAD-12DFB4F1524E}"/>
              </a:ext>
            </a:extLst>
          </p:cNvPr>
          <p:cNvSpPr/>
          <p:nvPr/>
        </p:nvSpPr>
        <p:spPr>
          <a:xfrm>
            <a:off x="9401082" y="5535148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2022</a:t>
            </a: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D2C836F6-A4F2-7148-8054-0E2E753004EC}"/>
              </a:ext>
            </a:extLst>
          </p:cNvPr>
          <p:cNvSpPr/>
          <p:nvPr/>
        </p:nvSpPr>
        <p:spPr>
          <a:xfrm>
            <a:off x="9429443" y="536951"/>
            <a:ext cx="5977143" cy="212393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Neden?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Benden niye yardım istemedin?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9738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61C7C0-A960-9537-E041-75443F5072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6C11A8C-A238-E3BC-BC7A-22223A5EC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5259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C11A8C-A238-E3BC-BC7A-22223A5EC5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251CAC-8A33-ABD3-815B-69C3C58EA2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6-) </a:t>
            </a:r>
            <a:r>
              <a:rPr lang="tr-TR" dirty="0" err="1"/>
              <a:t>Dunyada</a:t>
            </a:r>
            <a:r>
              <a:rPr lang="tr-TR" dirty="0"/>
              <a:t> tekstilde en </a:t>
            </a:r>
            <a:r>
              <a:rPr lang="tr-TR" dirty="0" err="1"/>
              <a:t>buyuk</a:t>
            </a:r>
            <a:r>
              <a:rPr lang="tr-TR" dirty="0"/>
              <a:t> </a:t>
            </a:r>
            <a:r>
              <a:rPr lang="tr-TR" dirty="0" err="1"/>
              <a:t>ihracatcilar</a:t>
            </a:r>
            <a:r>
              <a:rPr lang="tr-TR" dirty="0"/>
              <a:t> ve ithalatcilar.xlsx </a:t>
            </a:r>
            <a:r>
              <a:rPr lang="tr-TR" dirty="0" err="1"/>
              <a:t>tree</a:t>
            </a:r>
            <a:r>
              <a:rPr lang="tr-TR" dirty="0"/>
              <a:t> </a:t>
            </a:r>
            <a:r>
              <a:rPr lang="tr-TR" dirty="0" err="1"/>
              <a:t>mapleri</a:t>
            </a:r>
            <a:r>
              <a:rPr lang="tr-TR" dirty="0"/>
              <a:t> 6 tane (Yapamadım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226ED9-05C5-6946-D4BA-6C927D3EFD5D}"/>
              </a:ext>
            </a:extLst>
          </p:cNvPr>
          <p:cNvSpPr/>
          <p:nvPr/>
        </p:nvSpPr>
        <p:spPr>
          <a:xfrm>
            <a:off x="762000" y="1962150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İhraca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F7A5084-1540-7861-5E0A-9E15416633AD}"/>
              </a:ext>
            </a:extLst>
          </p:cNvPr>
          <p:cNvSpPr/>
          <p:nvPr/>
        </p:nvSpPr>
        <p:spPr>
          <a:xfrm>
            <a:off x="762000" y="4201648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İthala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38DBC0D-6083-0117-814F-D8FAEBED92E2}"/>
              </a:ext>
            </a:extLst>
          </p:cNvPr>
          <p:cNvSpPr/>
          <p:nvPr/>
        </p:nvSpPr>
        <p:spPr>
          <a:xfrm>
            <a:off x="2628900" y="5535148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2012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7BBEBB-66E6-BB30-0A9A-63AAB38F03AD}"/>
              </a:ext>
            </a:extLst>
          </p:cNvPr>
          <p:cNvSpPr/>
          <p:nvPr/>
        </p:nvSpPr>
        <p:spPr>
          <a:xfrm>
            <a:off x="6014991" y="5535148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2017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3224520-2F93-D69A-5B12-F1B62D089DA0}"/>
              </a:ext>
            </a:extLst>
          </p:cNvPr>
          <p:cNvSpPr/>
          <p:nvPr/>
        </p:nvSpPr>
        <p:spPr>
          <a:xfrm>
            <a:off x="9401082" y="5535148"/>
            <a:ext cx="1562100" cy="8763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2022</a:t>
            </a: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E883E51F-D4B7-45DF-977C-B44338C40171}"/>
              </a:ext>
            </a:extLst>
          </p:cNvPr>
          <p:cNvSpPr/>
          <p:nvPr/>
        </p:nvSpPr>
        <p:spPr>
          <a:xfrm>
            <a:off x="9429443" y="536951"/>
            <a:ext cx="5977143" cy="212393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Neden?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Benden niye yardım istemedin?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7846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BFC6C-CB53-DBDA-43D4-E6FAE4674E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01A56A0-3F08-E5AC-019E-0E806F17FB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28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25" imgH="426" progId="TCLayout.ActiveDocument.1">
                  <p:embed/>
                </p:oleObj>
              </mc:Choice>
              <mc:Fallback>
                <p:oleObj name="think-cell Slide" r:id="rId40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1A56A0-3F08-E5AC-019E-0E806F17FB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5428AD-CFAB-2512-4E7C-C57063989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ürkiye'nin tekstil ihracatında bulunan 2 basamaklı HS kodlarının oranları</a:t>
            </a:r>
          </a:p>
        </p:txBody>
      </p:sp>
      <p:graphicFrame>
        <p:nvGraphicFramePr>
          <p:cNvPr id="373" name="Chart 372">
            <a:extLst>
              <a:ext uri="{FF2B5EF4-FFF2-40B4-BE49-F238E27FC236}">
                <a16:creationId xmlns:a16="http://schemas.microsoft.com/office/drawing/2014/main" id="{41D3450D-6ACB-7580-BFA1-6E0B03CE4CC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616931"/>
              </p:ext>
            </p:extLst>
          </p:nvPr>
        </p:nvGraphicFramePr>
        <p:xfrm>
          <a:off x="2552700" y="1181100"/>
          <a:ext cx="9137650" cy="4937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ED5FC44C-AFBB-2C72-219B-75EC710D555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V="1">
            <a:off x="2559050" y="2505075"/>
            <a:ext cx="42863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F88814F5-7D88-480A-A590-A2BCED5974E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2559050" y="2570163"/>
            <a:ext cx="42863" cy="4683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ACD1CA66-D716-CEB6-B52D-0C125ABECBB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2559050" y="2705100"/>
            <a:ext cx="42863" cy="5365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3" name="Straight Connector 292">
            <a:extLst>
              <a:ext uri="{FF2B5EF4-FFF2-40B4-BE49-F238E27FC236}">
                <a16:creationId xmlns:a16="http://schemas.microsoft.com/office/drawing/2014/main" id="{3FEB9096-8089-2F85-784E-203499630F9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V="1">
            <a:off x="2559050" y="1352550"/>
            <a:ext cx="42863" cy="60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7" name="Straight Connector 366">
            <a:extLst>
              <a:ext uri="{FF2B5EF4-FFF2-40B4-BE49-F238E27FC236}">
                <a16:creationId xmlns:a16="http://schemas.microsoft.com/office/drawing/2014/main" id="{7D10A39B-9BDE-EA87-C777-C0B9A25BFB9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2559050" y="1655763"/>
            <a:ext cx="42863" cy="16351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8" name="Straight Connector 367">
            <a:extLst>
              <a:ext uri="{FF2B5EF4-FFF2-40B4-BE49-F238E27FC236}">
                <a16:creationId xmlns:a16="http://schemas.microsoft.com/office/drawing/2014/main" id="{BE95381E-C93B-5604-B3AC-2C6F97A1DCD5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2559050" y="1771650"/>
            <a:ext cx="42863" cy="2508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9" name="Straight Connector 368">
            <a:extLst>
              <a:ext uri="{FF2B5EF4-FFF2-40B4-BE49-F238E27FC236}">
                <a16:creationId xmlns:a16="http://schemas.microsoft.com/office/drawing/2014/main" id="{A906AC98-4CCC-DA8B-75FE-6661D039080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2559050" y="1984375"/>
            <a:ext cx="42863" cy="2413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0" name="Straight Connector 369">
            <a:extLst>
              <a:ext uri="{FF2B5EF4-FFF2-40B4-BE49-F238E27FC236}">
                <a16:creationId xmlns:a16="http://schemas.microsoft.com/office/drawing/2014/main" id="{B5332CF5-21EF-9BCD-3494-8D0EDCD373A5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2559050" y="2309813"/>
            <a:ext cx="42863" cy="32226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2E8DFB91-4F5B-35F8-AD63-D76BDE16791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 flipV="1">
            <a:off x="2559050" y="2117725"/>
            <a:ext cx="42863" cy="311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14A5F7EA-25F3-E927-6BF1-76A2E92503D5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1688763" y="1689100"/>
            <a:ext cx="152400" cy="39211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  <a:effectLst/>
              </a:rPr>
              <a:t>Türkiye'nin tekstil ihracatında bulunan 2 basamaklı HS kodlarının oranları (%)</a:t>
            </a:r>
            <a:endParaRPr lang="tr-TR" sz="1000" kern="12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7642B2C-C71B-397B-E06A-24ED9A863D7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50190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sz="1000" b="1" kern="1200" smtClean="0">
                <a:solidFill>
                  <a:schemeClr val="tx1"/>
                </a:solidFill>
              </a:rPr>
              <a:pPr/>
              <a:t>2012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48F3FFA-2D6C-B9ED-C987-4136AB210B7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46075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2013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2B25C97-F702-9C32-4EF6-E90DA81CF60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441960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sz="1000" b="1" kern="1200" smtClean="0">
                <a:solidFill>
                  <a:schemeClr val="tx1"/>
                </a:solidFill>
              </a:rPr>
              <a:pPr/>
              <a:t>2014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C45BDF5-24BE-9973-78A0-60EE72B966A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38003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sz="1000" b="1" kern="1200" smtClean="0">
                <a:solidFill>
                  <a:schemeClr val="tx1"/>
                </a:solidFill>
              </a:rPr>
              <a:pPr/>
              <a:t>2015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56D268C6-0767-9ED0-A3EB-42A51A514DE8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33888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sz="1000" b="1" kern="1200" smtClean="0">
                <a:solidFill>
                  <a:schemeClr val="tx1"/>
                </a:solidFill>
              </a:rPr>
              <a:pPr/>
              <a:t>2016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E54B449-55F7-4466-A43D-FD74B2B0792D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29773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sz="1000" b="1" kern="1200" smtClean="0">
                <a:solidFill>
                  <a:schemeClr val="tx1"/>
                </a:solidFill>
              </a:rPr>
              <a:pPr/>
              <a:t>2017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330AF7B-FFA4-349C-8782-8C7901D3FA0D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25658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sz="1000" b="1" kern="1200" smtClean="0">
                <a:solidFill>
                  <a:schemeClr val="tx1"/>
                </a:solidFill>
              </a:rPr>
              <a:pPr/>
              <a:t>2018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2DDE9A8A-9554-FCEA-88D5-4DE0AA16BA7F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921702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sz="1000" b="1" kern="1200" smtClean="0">
                <a:solidFill>
                  <a:schemeClr val="tx1"/>
                </a:solidFill>
              </a:rPr>
              <a:pPr/>
              <a:t>2019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E16AA4B-F476-AB7B-78EB-F4E3EFD9F8A4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017587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sz="1000" b="1" kern="1200" smtClean="0">
                <a:solidFill>
                  <a:schemeClr val="tx1"/>
                </a:solidFill>
              </a:rPr>
              <a:pPr/>
              <a:t>2020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9674807-E611-395C-A14F-9C23C1E89B16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113472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sz="1000" b="1" kern="1200" smtClean="0">
                <a:solidFill>
                  <a:schemeClr val="tx1"/>
                </a:solidFill>
              </a:rPr>
              <a:pPr/>
              <a:t>2021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BCD2FD7C-823D-340D-8224-1E3861F79691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2344738" y="1336675"/>
            <a:ext cx="1889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FC4CE06-13A9-4B7C-8FFC-EF343D08DB11}" type="datetime'''Y''''''''''''''''''''''''''''''''''''ün'''''''''''''''''''">
              <a:rPr lang="tr-TR" altLang="en-US" sz="1000" b="1" kern="12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Yün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2F3EAD0D-E448-9472-3882-328013F76685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2192338" y="1539875"/>
            <a:ext cx="3413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3C72B19-195D-49FB-8A81-2995133718D6}" type="datetime'''''''''''''''''''''''''''''''Pa''''mu''''''''''''''''''k'">
              <a:rPr lang="tr-TR" altLang="en-US" sz="1000" b="1" kern="1200" smtClean="0">
                <a:solidFill>
                  <a:schemeClr val="tx1"/>
                </a:solidFill>
              </a:rPr>
              <a:pPr/>
              <a:t>Pamuk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8F0B02A3-4528-E1DB-1E5A-F480CCF4D744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660525" y="1946275"/>
            <a:ext cx="8731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A53CFBB-4EEF-4BF2-9B9A-40F9950915AC}" type="datetime'Ya''p''a''''y f''''''''''''i''l''''a''''''me''''n''t''le''r'">
              <a:rPr lang="tr-TR" altLang="en-US" sz="1000" b="1" kern="1200" smtClean="0">
                <a:solidFill>
                  <a:schemeClr val="tx1"/>
                </a:solidFill>
              </a:rPr>
              <a:pPr/>
              <a:t>Yapay filament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E2ADD6DF-203C-1FFB-F187-675A2D9042DA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655763" y="2149475"/>
            <a:ext cx="8778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49DB166-F5C6-4477-85C3-DE932FD5EA7D}" type="datetime'''''Y''a''p''ay ''kesik''''''''l''''i li''f''''l''e''''r'''">
              <a:rPr lang="tr-TR" altLang="en-US" sz="1000" b="1" kern="1200" smtClean="0">
                <a:solidFill>
                  <a:schemeClr val="tx1"/>
                </a:solidFill>
              </a:rPr>
              <a:pPr/>
              <a:t>Yapay kesikli lif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7567CADD-6CB8-DA86-96E4-49D707736A35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923925" y="2352675"/>
            <a:ext cx="16097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AE204FD-F25F-4DA0-9986-C457A844E96D}" type="datetime'Vatk''a'''''''', k''''eçe ve dokus''u''z'''' yüz''ey''''le''r'">
              <a:rPr lang="tr-TR" altLang="en-US" sz="1000" b="1" kern="1200" smtClean="0">
                <a:solidFill>
                  <a:schemeClr val="tx1"/>
                </a:solidFill>
              </a:rPr>
              <a:pPr/>
              <a:t>Vatka, keçe ve dokusuz yüzey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2AF072C0-55B0-28C1-D821-E158D4F19AA0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954213" y="3436938"/>
            <a:ext cx="5794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507D8AB-2B89-491C-A756-0C09444FCF12}" type="datetime'''Ö''''''''rme'''''''''' ''''''''''g''''''''i''yi''m'''''''">
              <a:rPr lang="tr-TR" altLang="en-US" sz="1000" b="1" kern="1200" smtClean="0">
                <a:solidFill>
                  <a:schemeClr val="tx1"/>
                </a:solidFill>
              </a:rPr>
              <a:pPr/>
              <a:t>Örme giyim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5DB4E24F-5008-3051-8520-7925B8D3089B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497013" y="4605338"/>
            <a:ext cx="10366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806CBCB-5C81-4D14-8C7E-FFD01AAF234C}" type="datetime'Ö''r''''''me'''' ol''ma''''''y''an ''g''i''''''''''y''''im'''">
              <a:rPr lang="tr-TR" altLang="en-US" sz="1000" b="1" kern="1200" smtClean="0">
                <a:solidFill>
                  <a:schemeClr val="tx1"/>
                </a:solidFill>
              </a:rPr>
              <a:pPr/>
              <a:t>Örme olmayan giyim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5AABEC02-09D3-9EBB-EDFA-449D64C1F545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239838" y="5232400"/>
            <a:ext cx="12938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2E21612-40ED-494E-8F66-5F8AFA192C86}" type="datetime'D''i''ğer haz''''ır tekst''i''''''''l ür''ün''ler''''''''i'">
              <a:rPr lang="tr-TR" altLang="en-US" sz="1000" b="1" kern="1200" smtClean="0">
                <a:solidFill>
                  <a:schemeClr val="tx1"/>
                </a:solidFill>
              </a:rPr>
              <a:pPr/>
              <a:t>Diğer hazır tekstil ürün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F3C0E283-2610-AFAD-191B-BDF0E4F87531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958975" y="5435600"/>
            <a:ext cx="57467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8A0B348-9E22-4C81-8FCC-0440CAD8B92D}" type="datetime'''''A''''''''''y''a''''''''''''k''k''''''''a''b''ıl''a''r'''''">
              <a:rPr lang="tr-TR" altLang="en-US" sz="1000" b="1" kern="1200" smtClean="0">
                <a:solidFill>
                  <a:schemeClr val="tx1"/>
                </a:solidFill>
              </a:rPr>
              <a:pPr/>
              <a:t>Ayakkabı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41BEE121-097C-2A41-BDE1-F60701F348BB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2130425" y="5681663"/>
            <a:ext cx="4032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1FDC3E0-73E8-4E91-B009-BC95A798E6F5}" type="datetime'''''''''Mo''''''''''''b''''''''''i''''''''''''''l''''ya'">
              <a:rPr lang="tr-TR" altLang="en-US" sz="1000" b="1" kern="1200" smtClean="0">
                <a:solidFill>
                  <a:schemeClr val="tx1"/>
                </a:solidFill>
              </a:rPr>
              <a:pPr/>
              <a:t>Mobilya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771C0672-7D9B-21D1-EBCB-899E1179FBA4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277938" y="1743075"/>
            <a:ext cx="1255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FBFE02E-FCE5-4870-A9A6-B1D863176C72}" type="datetime'Diğer'''' b''''i''''tki''s''''el ''te''kstil ''''lifl''e''ri'">
              <a:rPr lang="tr-TR" altLang="en-US" sz="1000" b="1" kern="1200" smtClean="0">
                <a:solidFill>
                  <a:schemeClr val="tx1"/>
                </a:solidFill>
              </a:rPr>
              <a:pPr/>
              <a:t>Diğer bitkisel tekstil lif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3D47A660-641C-DA16-0D2B-01DB69237685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341313" y="2962275"/>
            <a:ext cx="21923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6196899-5BE4-48DF-BE35-C1327B3FB063}" type="datetime'Emdir''ilmiş, ''kapl''anmış'''' veya la''mine kumaş''l''a''r'">
              <a:rPr lang="tr-TR" altLang="en-US" sz="1000" b="1" kern="1200" smtClean="0">
                <a:solidFill>
                  <a:schemeClr val="tx1"/>
                </a:solidFill>
              </a:rPr>
              <a:pPr/>
              <a:t>Emdirilmiş, kaplanmış veya lamine kumaşlar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E581D666-BA27-DEAC-E56F-A67B4FC05347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395413" y="2759075"/>
            <a:ext cx="11382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BDA5F74-1AB2-46B2-913F-EEC80B4572DD}" type="datetime'''''''Öze''''''l ''''dok''um''a ku''m''a''şl''''''''''ar'''">
              <a:rPr lang="tr-TR" altLang="en-US" sz="1000" b="1" kern="1200" smtClean="0">
                <a:solidFill>
                  <a:schemeClr val="tx1"/>
                </a:solidFill>
              </a:rPr>
              <a:pPr/>
              <a:t>Özel dokuma kumaş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9BFE874F-D290-CA47-9631-634544260562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1766888" y="3165475"/>
            <a:ext cx="7667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630AF04-3510-4E3B-864F-881ADF1BF4CF}" type="datetime'''Ö''''''r''''me'''' ''k''u''m''''''aşla''''''''r'''''">
              <a:rPr lang="tr-TR" altLang="en-US" sz="1000" b="1" kern="1200" smtClean="0">
                <a:solidFill>
                  <a:schemeClr val="tx1"/>
                </a:solidFill>
              </a:rPr>
              <a:pPr/>
              <a:t>Örme kumaş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01C21A6A-F80C-5EE5-2566-DF86CB6B9730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2214563" y="2555875"/>
            <a:ext cx="3190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C7DB0CA-22A0-48EB-A76E-32FF244134BA}" type="datetime'''''''''H''''''''''''''''a''''lıla''r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Halı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F743322-797F-06D1-CC4D-992847ABEB04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6896100" y="6259513"/>
            <a:ext cx="112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b="1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B3AE0C49-0CA0-30CE-9B35-CAD00F130AB3}"/>
              </a:ext>
            </a:extLst>
          </p:cNvPr>
          <p:cNvSpPr/>
          <p:nvPr/>
        </p:nvSpPr>
        <p:spPr>
          <a:xfrm>
            <a:off x="9429443" y="536951"/>
            <a:ext cx="5977143" cy="212393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Bu tip grafiklerde bar grafik kullanmak daha iyi olur. En küçükten en büyüğe doğru verileri sıralarsın ve önemli olanların isimlerini gösterirsin. 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Alanlar arasında beyaz kontör çizgisi yok!</a:t>
            </a:r>
          </a:p>
          <a:p>
            <a:pPr algn="ctr"/>
            <a:r>
              <a:rPr lang="en-US" sz="1800" b="1" dirty="0" err="1">
                <a:solidFill>
                  <a:schemeClr val="tx1"/>
                </a:solidFill>
              </a:rPr>
              <a:t>Resmi</a:t>
            </a:r>
            <a:r>
              <a:rPr lang="en-US" sz="1800" b="1" dirty="0">
                <a:solidFill>
                  <a:schemeClr val="tx1"/>
                </a:solidFill>
              </a:rPr>
              <a:t> </a:t>
            </a:r>
            <a:r>
              <a:rPr lang="en-US" sz="1800" b="1" dirty="0" err="1">
                <a:solidFill>
                  <a:schemeClr val="tx1"/>
                </a:solidFill>
              </a:rPr>
              <a:t>renkleri</a:t>
            </a:r>
            <a:r>
              <a:rPr lang="en-US" sz="1800" b="1" dirty="0">
                <a:solidFill>
                  <a:schemeClr val="tx1"/>
                </a:solidFill>
              </a:rPr>
              <a:t> </a:t>
            </a:r>
            <a:r>
              <a:rPr lang="en-US" sz="1800" b="1" dirty="0" err="1">
                <a:solidFill>
                  <a:schemeClr val="tx1"/>
                </a:solidFill>
              </a:rPr>
              <a:t>kullanalım</a:t>
            </a:r>
            <a:endParaRPr lang="en-US" sz="1800" b="1" dirty="0">
              <a:solidFill>
                <a:schemeClr val="tx1"/>
              </a:solidFill>
            </a:endParaRPr>
          </a:p>
          <a:p>
            <a:pPr algn="ctr"/>
            <a:r>
              <a:rPr lang="en-US" sz="1800" b="1" dirty="0" err="1">
                <a:solidFill>
                  <a:schemeClr val="tx1"/>
                </a:solidFill>
              </a:rPr>
              <a:t>Kaynakça</a:t>
            </a:r>
            <a:r>
              <a:rPr lang="en-US" sz="1800" b="1" dirty="0">
                <a:solidFill>
                  <a:schemeClr val="tx1"/>
                </a:solidFill>
              </a:rPr>
              <a:t> yok</a:t>
            </a:r>
          </a:p>
          <a:p>
            <a:pPr algn="ctr"/>
            <a:r>
              <a:rPr lang="en-US" sz="1800" b="1" dirty="0" err="1">
                <a:solidFill>
                  <a:schemeClr val="tx1"/>
                </a:solidFill>
              </a:rPr>
              <a:t>Başlıkta</a:t>
            </a:r>
            <a:r>
              <a:rPr lang="en-US" sz="1800" b="1" dirty="0">
                <a:solidFill>
                  <a:schemeClr val="tx1"/>
                </a:solidFill>
              </a:rPr>
              <a:t> </a:t>
            </a:r>
            <a:r>
              <a:rPr lang="en-US" sz="1800" b="1" dirty="0" err="1">
                <a:solidFill>
                  <a:schemeClr val="tx1"/>
                </a:solidFill>
              </a:rPr>
              <a:t>yıllar</a:t>
            </a:r>
            <a:r>
              <a:rPr lang="en-US" sz="1800" b="1" dirty="0">
                <a:solidFill>
                  <a:schemeClr val="tx1"/>
                </a:solidFill>
              </a:rPr>
              <a:t> yok</a:t>
            </a:r>
          </a:p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4952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08813A-7B82-7422-D039-B07ED077FB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C62B6EB-D385-B69D-2C70-F1C35DBF5E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2241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25" imgH="426" progId="TCLayout.ActiveDocument.1">
                  <p:embed/>
                </p:oleObj>
              </mc:Choice>
              <mc:Fallback>
                <p:oleObj name="think-cell Slide" r:id="rId35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62B6EB-D385-B69D-2C70-F1C35DBF5E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B99CEFA-6E24-4A73-8A2D-415703DBB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ürkiye'nin tekstil ihracatında bulunan 2 basamaklı HS kodlarının oranları</a:t>
            </a:r>
          </a:p>
        </p:txBody>
      </p:sp>
      <p:graphicFrame>
        <p:nvGraphicFramePr>
          <p:cNvPr id="626" name="Chart 3">
            <a:extLst>
              <a:ext uri="{FF2B5EF4-FFF2-40B4-BE49-F238E27FC236}">
                <a16:creationId xmlns:a16="http://schemas.microsoft.com/office/drawing/2014/main" id="{C087BE7C-567C-8F14-8437-9022FF677B7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1069366"/>
              </p:ext>
            </p:extLst>
          </p:nvPr>
        </p:nvGraphicFramePr>
        <p:xfrm>
          <a:off x="273050" y="1954213"/>
          <a:ext cx="11483975" cy="3622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533" name="Dikdörtgen 532">
            <a:extLst>
              <a:ext uri="{FF2B5EF4-FFF2-40B4-BE49-F238E27FC236}">
                <a16:creationId xmlns:a16="http://schemas.microsoft.com/office/drawing/2014/main" id="{91F2B6C4-433A-F9CA-BA4B-E1C4952BD0F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025063" y="2435225"/>
            <a:ext cx="219075" cy="144463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9050" tIns="0" rIns="1905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1F3768D-EB8F-4C22-B1CF-6DC358F2D209}" type="datetime'''''''''''''''''4''''%'''''''''''''''''''''">
              <a:rPr lang="tr-TR" altLang="en-US" sz="1050" b="1" kern="1200" smtClean="0">
                <a:solidFill>
                  <a:schemeClr val="bg1"/>
                </a:solidFill>
                <a:effectLst/>
                <a:latin typeface="Proxima Nova" panose="020B0604020202020204" charset="0"/>
                <a:sym typeface="Proxima Nova" panose="020B0604020202020204" charset="0"/>
              </a:rPr>
              <a:pPr/>
              <a:t>4%</a:t>
            </a:fld>
            <a:endParaRPr lang="tr-TR" sz="1050" b="1" kern="1200">
              <a:solidFill>
                <a:schemeClr val="bg1"/>
              </a:solidFill>
              <a:latin typeface="Proxima Nova" panose="020B0604020202020204" charset="0"/>
              <a:sym typeface="Proxima Nova" panose="020B0604020202020204" charset="0"/>
            </a:endParaRPr>
          </a:p>
        </p:txBody>
      </p:sp>
      <p:sp>
        <p:nvSpPr>
          <p:cNvPr id="570" name="Dikdörtgen 569">
            <a:extLst>
              <a:ext uri="{FF2B5EF4-FFF2-40B4-BE49-F238E27FC236}">
                <a16:creationId xmlns:a16="http://schemas.microsoft.com/office/drawing/2014/main" id="{5EDFE9AF-7775-9C9F-11BA-FADE45A6D9A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58825" y="53911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4984F47-83A8-4EB7-9C7E-FF4F66BB1790}" type="datetime'''''''''''2''''''''''0''''''''''''1''2'''''''''">
              <a:rPr lang="tr-TR" altLang="en-US" sz="1200" b="1" kern="1200" smtClean="0">
                <a:solidFill>
                  <a:schemeClr val="tx1"/>
                </a:solidFill>
                <a:effectLst/>
                <a:latin typeface="Proi"/>
                <a:sym typeface="Pro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tr-TR" sz="1200" b="1" kern="1200" dirty="0">
              <a:solidFill>
                <a:schemeClr val="tx1"/>
              </a:solidFill>
              <a:latin typeface="Proi"/>
              <a:sym typeface="Proi"/>
            </a:endParaRPr>
          </a:p>
        </p:txBody>
      </p:sp>
      <p:sp>
        <p:nvSpPr>
          <p:cNvPr id="572" name="Dikdörtgen 571">
            <a:extLst>
              <a:ext uri="{FF2B5EF4-FFF2-40B4-BE49-F238E27FC236}">
                <a16:creationId xmlns:a16="http://schemas.microsoft.com/office/drawing/2014/main" id="{B2959592-9B81-15BD-3820-A515B8D8CF7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890713" y="53911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118CA09-CCBD-4C0E-B560-4C71C738AD3E}" type="datetime'''''''''2''0''''''''''''1''''3'''''''''''''''''''''''''''">
              <a:rPr lang="tr-TR" altLang="en-US" sz="1200" b="1" kern="1200" smtClean="0">
                <a:solidFill>
                  <a:schemeClr val="tx1"/>
                </a:solidFill>
                <a:effectLst/>
                <a:latin typeface="Proi"/>
                <a:sym typeface="Pro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tr-TR" sz="1200" b="1" kern="1200">
              <a:solidFill>
                <a:schemeClr val="tx1"/>
              </a:solidFill>
              <a:latin typeface="Proi"/>
              <a:sym typeface="Proi"/>
            </a:endParaRPr>
          </a:p>
        </p:txBody>
      </p:sp>
      <p:sp>
        <p:nvSpPr>
          <p:cNvPr id="573" name="Dikdörtgen 572">
            <a:extLst>
              <a:ext uri="{FF2B5EF4-FFF2-40B4-BE49-F238E27FC236}">
                <a16:creationId xmlns:a16="http://schemas.microsoft.com/office/drawing/2014/main" id="{B441DCA7-B658-4B24-117E-FA5C91BCFDF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022600" y="53911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E7A77DE-6BC4-4E76-887C-A75AA7350107}" type="datetime'''''''''''''''''2''0''''''''''''''''''''''''1''''4'''''''''''">
              <a:rPr lang="tr-TR" altLang="en-US" sz="1200" b="1" kern="1200" smtClean="0">
                <a:solidFill>
                  <a:schemeClr val="tx1"/>
                </a:solidFill>
                <a:effectLst/>
                <a:latin typeface="Proi"/>
                <a:sym typeface="Pro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tr-TR" sz="1200" b="1" kern="1200">
              <a:solidFill>
                <a:schemeClr val="tx1"/>
              </a:solidFill>
              <a:latin typeface="Proi"/>
              <a:sym typeface="Proi"/>
            </a:endParaRPr>
          </a:p>
        </p:txBody>
      </p:sp>
      <p:sp>
        <p:nvSpPr>
          <p:cNvPr id="574" name="Dikdörtgen 573">
            <a:extLst>
              <a:ext uri="{FF2B5EF4-FFF2-40B4-BE49-F238E27FC236}">
                <a16:creationId xmlns:a16="http://schemas.microsoft.com/office/drawing/2014/main" id="{235387D3-C521-901B-B940-6D5F4254DA5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154488" y="53911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7070BAE-E49B-443F-B3A7-D93954F4E2AC}" type="datetime'''''201''''''''''''''''5'''''''''">
              <a:rPr lang="tr-TR" altLang="en-US" sz="1200" b="1" kern="1200" smtClean="0">
                <a:solidFill>
                  <a:schemeClr val="tx1"/>
                </a:solidFill>
                <a:effectLst/>
                <a:latin typeface="Proi"/>
                <a:sym typeface="Pro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tr-TR" sz="1200" b="1" kern="1200">
              <a:solidFill>
                <a:schemeClr val="tx1"/>
              </a:solidFill>
              <a:latin typeface="Proi"/>
              <a:sym typeface="Proi"/>
            </a:endParaRPr>
          </a:p>
        </p:txBody>
      </p:sp>
      <p:sp>
        <p:nvSpPr>
          <p:cNvPr id="575" name="Dikdörtgen 574">
            <a:extLst>
              <a:ext uri="{FF2B5EF4-FFF2-40B4-BE49-F238E27FC236}">
                <a16:creationId xmlns:a16="http://schemas.microsoft.com/office/drawing/2014/main" id="{581206DE-2D88-54CD-BACF-29D53DD594B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286375" y="53911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3E291F-1E07-48E9-A636-168DB40C4B96}" type="datetime'''2''0''''''''''1''''''''''''''''''''''''''''6'''''''''''''">
              <a:rPr lang="tr-TR" altLang="en-US" sz="1200" b="1" kern="1200" smtClean="0">
                <a:solidFill>
                  <a:schemeClr val="tx1"/>
                </a:solidFill>
                <a:effectLst/>
                <a:latin typeface="Proi"/>
                <a:sym typeface="Pro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tr-TR" sz="1200" b="1" kern="1200">
              <a:solidFill>
                <a:schemeClr val="tx1"/>
              </a:solidFill>
              <a:latin typeface="Proi"/>
              <a:sym typeface="Proi"/>
            </a:endParaRPr>
          </a:p>
        </p:txBody>
      </p:sp>
      <p:sp>
        <p:nvSpPr>
          <p:cNvPr id="576" name="Dikdörtgen 575">
            <a:extLst>
              <a:ext uri="{FF2B5EF4-FFF2-40B4-BE49-F238E27FC236}">
                <a16:creationId xmlns:a16="http://schemas.microsoft.com/office/drawing/2014/main" id="{8FFAB2B8-81C4-63B9-DBD4-67B052F6D5D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418263" y="53911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A56923D-37A1-42B0-8392-B01DB0548F92}" type="datetime'''''''''''''''''''2''''''''''''''0''''''''17'''''''''">
              <a:rPr lang="tr-TR" altLang="en-US" sz="1200" b="1" kern="1200" smtClean="0">
                <a:solidFill>
                  <a:schemeClr val="tx1"/>
                </a:solidFill>
                <a:effectLst/>
                <a:latin typeface="Proi"/>
                <a:sym typeface="Pro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tr-TR" sz="1200" b="1" kern="1200">
              <a:solidFill>
                <a:schemeClr val="tx1"/>
              </a:solidFill>
              <a:latin typeface="Proi"/>
              <a:sym typeface="Proi"/>
            </a:endParaRPr>
          </a:p>
        </p:txBody>
      </p:sp>
      <p:sp>
        <p:nvSpPr>
          <p:cNvPr id="577" name="Dikdörtgen 576">
            <a:extLst>
              <a:ext uri="{FF2B5EF4-FFF2-40B4-BE49-F238E27FC236}">
                <a16:creationId xmlns:a16="http://schemas.microsoft.com/office/drawing/2014/main" id="{C0994D62-541A-24AD-F4A4-1E8D2A3F25E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550150" y="53911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4A12C00-F1F8-4623-8BB3-54EB28A46A50}" type="datetime'''''''''''''''''2''''''''0''''''''''1''''''''''''''''8'">
              <a:rPr lang="tr-TR" altLang="en-US" sz="1200" b="1" kern="1200" smtClean="0">
                <a:solidFill>
                  <a:schemeClr val="tx1"/>
                </a:solidFill>
                <a:effectLst/>
                <a:latin typeface="Proi"/>
                <a:sym typeface="Pro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tr-TR" sz="1200" b="1" kern="1200">
              <a:solidFill>
                <a:schemeClr val="tx1"/>
              </a:solidFill>
              <a:latin typeface="Proi"/>
              <a:sym typeface="Proi"/>
            </a:endParaRPr>
          </a:p>
        </p:txBody>
      </p:sp>
      <p:sp>
        <p:nvSpPr>
          <p:cNvPr id="578" name="Dikdörtgen 577">
            <a:extLst>
              <a:ext uri="{FF2B5EF4-FFF2-40B4-BE49-F238E27FC236}">
                <a16:creationId xmlns:a16="http://schemas.microsoft.com/office/drawing/2014/main" id="{5E4CBE88-9C11-44F9-AC73-1CA419034B9E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8682038" y="53911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711849F-4B41-4DBC-B826-A64A059F863A}" type="datetime'''''''2''''''0''''''''1''''''''''''''''''''''''''''9'''">
              <a:rPr lang="tr-TR" altLang="en-US" sz="1200" b="1" kern="1200" smtClean="0">
                <a:solidFill>
                  <a:schemeClr val="tx1"/>
                </a:solidFill>
                <a:effectLst/>
                <a:latin typeface="Proi"/>
                <a:sym typeface="Pro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tr-TR" sz="1200" b="1" kern="1200">
              <a:solidFill>
                <a:schemeClr val="tx1"/>
              </a:solidFill>
              <a:latin typeface="Proi"/>
              <a:sym typeface="Proi"/>
            </a:endParaRPr>
          </a:p>
        </p:txBody>
      </p:sp>
      <p:sp>
        <p:nvSpPr>
          <p:cNvPr id="579" name="Dikdörtgen 578">
            <a:extLst>
              <a:ext uri="{FF2B5EF4-FFF2-40B4-BE49-F238E27FC236}">
                <a16:creationId xmlns:a16="http://schemas.microsoft.com/office/drawing/2014/main" id="{5F7D971A-5C8A-2EA0-2BA5-EF2CCE546805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9813925" y="53911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C29EA1C-94F3-4AF0-B925-D9FD736F9D39}" type="datetime'''''''''''''''''''''''''20''2''''''''''''''''0'''''''''''''">
              <a:rPr lang="tr-TR" altLang="en-US" sz="1200" b="1" kern="1200" smtClean="0">
                <a:solidFill>
                  <a:schemeClr val="tx1"/>
                </a:solidFill>
                <a:effectLst/>
                <a:latin typeface="Proi"/>
                <a:sym typeface="Pro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tr-TR" sz="1200" b="1" kern="1200">
              <a:solidFill>
                <a:schemeClr val="tx1"/>
              </a:solidFill>
              <a:latin typeface="Proi"/>
              <a:sym typeface="Proi"/>
            </a:endParaRPr>
          </a:p>
        </p:txBody>
      </p:sp>
      <p:sp>
        <p:nvSpPr>
          <p:cNvPr id="580" name="Dikdörtgen 579">
            <a:extLst>
              <a:ext uri="{FF2B5EF4-FFF2-40B4-BE49-F238E27FC236}">
                <a16:creationId xmlns:a16="http://schemas.microsoft.com/office/drawing/2014/main" id="{FBFBF8AD-287D-A3B3-B854-D6CF225EB7F7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0945813" y="53911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6873C4E-04D9-4D71-9985-F75D224B7766}" type="datetime'''''''''''''''''''''''''''''2''0''''2''''''''''''''''''1'''">
              <a:rPr lang="tr-TR" altLang="en-US" sz="1200" b="1" kern="1200" smtClean="0">
                <a:solidFill>
                  <a:schemeClr val="tx1"/>
                </a:solidFill>
                <a:effectLst/>
                <a:latin typeface="Proi"/>
                <a:sym typeface="Pro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tr-TR" sz="1200" b="1" kern="1200">
              <a:solidFill>
                <a:schemeClr val="tx1"/>
              </a:solidFill>
              <a:latin typeface="Proi"/>
              <a:sym typeface="Proi"/>
            </a:endParaRP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D7A04437-ECDE-F5A8-4562-70998686A72C}"/>
              </a:ext>
            </a:extLst>
          </p:cNvPr>
          <p:cNvSpPr/>
          <p:nvPr/>
        </p:nvSpPr>
        <p:spPr>
          <a:xfrm>
            <a:off x="6764257" y="1603823"/>
            <a:ext cx="5977143" cy="212393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Renkleri Bilerek Değiştirmiyorum. </a:t>
            </a:r>
            <a:r>
              <a:rPr lang="tr-TR" sz="1800" b="1" dirty="0" err="1">
                <a:solidFill>
                  <a:schemeClr val="tx1"/>
                </a:solidFill>
              </a:rPr>
              <a:t>Treemap</a:t>
            </a:r>
            <a:r>
              <a:rPr lang="tr-TR" sz="1800" b="1" dirty="0">
                <a:solidFill>
                  <a:schemeClr val="tx1"/>
                </a:solidFill>
              </a:rPr>
              <a:t> olsa daha şık durur. Başlık ve Kaynak eklemedim.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614" name="Dikdörtgen 613">
            <a:extLst>
              <a:ext uri="{FF2B5EF4-FFF2-40B4-BE49-F238E27FC236}">
                <a16:creationId xmlns:a16="http://schemas.microsoft.com/office/drawing/2014/main" id="{B66D0559-1594-9BAD-C201-BE17C3F014AD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818438" y="6097588"/>
            <a:ext cx="187325" cy="139700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615" name="Dikdörtgen 614">
            <a:extLst>
              <a:ext uri="{FF2B5EF4-FFF2-40B4-BE49-F238E27FC236}">
                <a16:creationId xmlns:a16="http://schemas.microsoft.com/office/drawing/2014/main" id="{F2D67967-3CD6-EED0-B9F6-7A7D0735597D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7818438" y="5886450"/>
            <a:ext cx="187325" cy="139700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616" name="Dikdörtgen 615">
            <a:extLst>
              <a:ext uri="{FF2B5EF4-FFF2-40B4-BE49-F238E27FC236}">
                <a16:creationId xmlns:a16="http://schemas.microsoft.com/office/drawing/2014/main" id="{E91C2175-01F6-0FCE-CAA9-D19CA16819AD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419850" y="6097588"/>
            <a:ext cx="187325" cy="139700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617" name="Dikdörtgen 616">
            <a:extLst>
              <a:ext uri="{FF2B5EF4-FFF2-40B4-BE49-F238E27FC236}">
                <a16:creationId xmlns:a16="http://schemas.microsoft.com/office/drawing/2014/main" id="{6B29324A-E33E-6101-061F-A38DAADF6DF0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419850" y="5886450"/>
            <a:ext cx="187325" cy="139700"/>
          </a:xfrm>
          <a:prstGeom prst="rect">
            <a:avLst/>
          </a:prstGeom>
          <a:solidFill>
            <a:schemeClr val="accent4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618" name="Dikdörtgen 617">
            <a:extLst>
              <a:ext uri="{FF2B5EF4-FFF2-40B4-BE49-F238E27FC236}">
                <a16:creationId xmlns:a16="http://schemas.microsoft.com/office/drawing/2014/main" id="{F570B751-2AA1-45E0-B6BF-786C51178634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661025" y="6097588"/>
            <a:ext cx="187325" cy="139700"/>
          </a:xfrm>
          <a:prstGeom prst="rect">
            <a:avLst/>
          </a:prstGeom>
          <a:solidFill>
            <a:schemeClr val="accent5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619" name="Dikdörtgen 618">
            <a:extLst>
              <a:ext uri="{FF2B5EF4-FFF2-40B4-BE49-F238E27FC236}">
                <a16:creationId xmlns:a16="http://schemas.microsoft.com/office/drawing/2014/main" id="{AF28D446-9A60-A4AD-B4D1-233EE020ABE7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661025" y="5886450"/>
            <a:ext cx="187325" cy="139700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620" name="Dikdörtgen 619">
            <a:extLst>
              <a:ext uri="{FF2B5EF4-FFF2-40B4-BE49-F238E27FC236}">
                <a16:creationId xmlns:a16="http://schemas.microsoft.com/office/drawing/2014/main" id="{499C6D49-E327-F930-63FF-219E758A30C3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3762375" y="6097588"/>
            <a:ext cx="187325" cy="139700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621" name="Dikdörtgen 620">
            <a:extLst>
              <a:ext uri="{FF2B5EF4-FFF2-40B4-BE49-F238E27FC236}">
                <a16:creationId xmlns:a16="http://schemas.microsoft.com/office/drawing/2014/main" id="{66998C12-BAFF-7827-0277-D99A3D8317BF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3762375" y="5886450"/>
            <a:ext cx="187325" cy="139700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622" name="Dikdörtgen 621">
            <a:extLst>
              <a:ext uri="{FF2B5EF4-FFF2-40B4-BE49-F238E27FC236}">
                <a16:creationId xmlns:a16="http://schemas.microsoft.com/office/drawing/2014/main" id="{89AA1086-347D-A41C-2702-26831841679C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2173288" y="6097588"/>
            <a:ext cx="187325" cy="139700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623" name="Dikdörtgen 622">
            <a:extLst>
              <a:ext uri="{FF2B5EF4-FFF2-40B4-BE49-F238E27FC236}">
                <a16:creationId xmlns:a16="http://schemas.microsoft.com/office/drawing/2014/main" id="{6A6C9564-9149-CAD5-9D7C-0CA438966F1F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2173288" y="5886450"/>
            <a:ext cx="187325" cy="139700"/>
          </a:xfrm>
          <a:prstGeom prst="rect">
            <a:avLst/>
          </a:prstGeom>
          <a:solidFill>
            <a:schemeClr val="accent4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602" name="Dikdörtgen 601">
            <a:extLst>
              <a:ext uri="{FF2B5EF4-FFF2-40B4-BE49-F238E27FC236}">
                <a16:creationId xmlns:a16="http://schemas.microsoft.com/office/drawing/2014/main" id="{C933A37A-4B6D-4783-F083-395CC30890BB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056563" y="5881688"/>
            <a:ext cx="1090613" cy="1603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97845BC-0666-4175-B2D2-82C033C98EDE}" type="datetime'''''''Y''a''''pa''y k''''e''s''i''kl''i'' ''''''lifl''er'''''">
              <a:rPr lang="tr-TR" altLang="en-US" sz="1050" b="1" kern="1200" smtClean="0">
                <a:solidFill>
                  <a:schemeClr val="tx1"/>
                </a:solidFill>
                <a:effectLst/>
                <a:latin typeface="Proxima Nova" panose="020B0604020202020204" charset="0"/>
                <a:sym typeface="Proxima Nova" panose="020B060402020202020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Yapay kesikli lifler</a:t>
            </a:fld>
            <a:endParaRPr lang="tr-TR" sz="1050" b="1" kern="1200">
              <a:solidFill>
                <a:schemeClr val="tx1"/>
              </a:solidFill>
              <a:latin typeface="Proxima Nova" panose="020B0604020202020204" charset="0"/>
              <a:sym typeface="Proxima Nova" panose="020B0604020202020204" charset="0"/>
            </a:endParaRPr>
          </a:p>
        </p:txBody>
      </p:sp>
      <p:sp>
        <p:nvSpPr>
          <p:cNvPr id="604" name="Dikdörtgen 603">
            <a:extLst>
              <a:ext uri="{FF2B5EF4-FFF2-40B4-BE49-F238E27FC236}">
                <a16:creationId xmlns:a16="http://schemas.microsoft.com/office/drawing/2014/main" id="{75685B44-83C7-8C65-BF4A-5BEBFBC86525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056563" y="6092825"/>
            <a:ext cx="327025" cy="1603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D392598-781D-4A0A-A29F-30D36AFDA0D9}" type="datetime'''D''''i''''''''''''''''''''''''''''''ğ''e''''''''''r'''''''''">
              <a:rPr lang="tr-TR" altLang="en-US" sz="1050" b="1" kern="1200" smtClean="0">
                <a:solidFill>
                  <a:schemeClr val="tx1"/>
                </a:solidFill>
                <a:effectLst/>
                <a:latin typeface="Proxima Nova" panose="020B0604020202020204" charset="0"/>
                <a:sym typeface="Proxima Nova" panose="020B060402020202020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Diğer</a:t>
            </a:fld>
            <a:endParaRPr lang="tr-TR" sz="1050" b="1" kern="1200" dirty="0">
              <a:solidFill>
                <a:schemeClr val="tx1"/>
              </a:solidFill>
              <a:latin typeface="Proxima Nova" panose="020B0604020202020204" charset="0"/>
              <a:sym typeface="Proxima Nova" panose="020B0604020202020204" charset="0"/>
            </a:endParaRPr>
          </a:p>
        </p:txBody>
      </p:sp>
      <p:sp>
        <p:nvSpPr>
          <p:cNvPr id="605" name="Dikdörtgen 604">
            <a:extLst>
              <a:ext uri="{FF2B5EF4-FFF2-40B4-BE49-F238E27FC236}">
                <a16:creationId xmlns:a16="http://schemas.microsoft.com/office/drawing/2014/main" id="{B909A481-E929-BA13-29E0-6A5D02793727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6657975" y="6092825"/>
            <a:ext cx="925513" cy="1603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66283CB-1687-4E50-85A1-F8C1E7D7D920}" type="datetime'Ö''''rme'''''''''''' kum''''a''''''''şl''''''''ar'''''''''''">
              <a:rPr lang="tr-TR" altLang="en-US" sz="1050" b="1" kern="1200" smtClean="0">
                <a:solidFill>
                  <a:schemeClr val="tx1"/>
                </a:solidFill>
                <a:effectLst/>
                <a:latin typeface="Proxima Nova" panose="020B0604020202020204" charset="0"/>
                <a:sym typeface="Proxima Nova" panose="020B060402020202020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Örme kumaşlar</a:t>
            </a:fld>
            <a:endParaRPr lang="tr-TR" sz="1050" b="1" kern="1200">
              <a:solidFill>
                <a:schemeClr val="tx1"/>
              </a:solidFill>
              <a:latin typeface="Proxima Nova" panose="020B0604020202020204" charset="0"/>
              <a:sym typeface="Proxima Nova" panose="020B0604020202020204" charset="0"/>
            </a:endParaRPr>
          </a:p>
        </p:txBody>
      </p:sp>
      <p:sp>
        <p:nvSpPr>
          <p:cNvPr id="606" name="Dikdörtgen 605">
            <a:extLst>
              <a:ext uri="{FF2B5EF4-FFF2-40B4-BE49-F238E27FC236}">
                <a16:creationId xmlns:a16="http://schemas.microsoft.com/office/drawing/2014/main" id="{D609FE84-C56D-1DBC-6E38-DA4A6E36DAEE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000500" y="6092825"/>
            <a:ext cx="1558925" cy="1603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F1A0F14-3AA0-4FD9-8004-B440E6A73D5A}" type="datetime'Diğ''er'' ha''''zır'''''''''' teks''''t''il ü''rünler''i'">
              <a:rPr lang="tr-TR" altLang="en-US" sz="1050" b="1" kern="1200" smtClean="0">
                <a:solidFill>
                  <a:schemeClr val="tx1"/>
                </a:solidFill>
                <a:effectLst/>
                <a:latin typeface="Proxima Nova" panose="020B0604020202020204" charset="0"/>
                <a:sym typeface="Proxima Nova" panose="020B060402020202020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Diğer hazır tekstil ürünleri</a:t>
            </a:fld>
            <a:endParaRPr lang="tr-TR" sz="1050" b="1" kern="1200">
              <a:solidFill>
                <a:schemeClr val="tx1"/>
              </a:solidFill>
              <a:latin typeface="Proxima Nova" panose="020B0604020202020204" charset="0"/>
              <a:sym typeface="Proxima Nova" panose="020B0604020202020204" charset="0"/>
            </a:endParaRPr>
          </a:p>
        </p:txBody>
      </p:sp>
      <p:sp>
        <p:nvSpPr>
          <p:cNvPr id="607" name="Dikdörtgen 606">
            <a:extLst>
              <a:ext uri="{FF2B5EF4-FFF2-40B4-BE49-F238E27FC236}">
                <a16:creationId xmlns:a16="http://schemas.microsoft.com/office/drawing/2014/main" id="{C1CE3EA8-FFC1-087B-4373-434993E22F27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6657975" y="5881688"/>
            <a:ext cx="1058863" cy="1603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27066F3-1BBF-4BFE-A147-26C3AB656DA3}" type="datetime'Y''ap''''''''a''''''''''y fila''''me''''nt''l''''e''''r'">
              <a:rPr lang="tr-TR" altLang="en-US" sz="1050" b="1" kern="1200" smtClean="0">
                <a:solidFill>
                  <a:schemeClr val="tx1"/>
                </a:solidFill>
                <a:effectLst/>
                <a:latin typeface="Proxima Nova" panose="020B0604020202020204" charset="0"/>
                <a:sym typeface="Proxima Nova" panose="020B060402020202020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Yapay filamentler</a:t>
            </a:fld>
            <a:endParaRPr lang="tr-TR" sz="1050" b="1" kern="1200">
              <a:solidFill>
                <a:schemeClr val="tx1"/>
              </a:solidFill>
              <a:latin typeface="Proxima Nova" panose="020B0604020202020204" charset="0"/>
              <a:sym typeface="Proxima Nova" panose="020B0604020202020204" charset="0"/>
            </a:endParaRPr>
          </a:p>
        </p:txBody>
      </p:sp>
      <p:sp>
        <p:nvSpPr>
          <p:cNvPr id="608" name="Dikdörtgen 607">
            <a:extLst>
              <a:ext uri="{FF2B5EF4-FFF2-40B4-BE49-F238E27FC236}">
                <a16:creationId xmlns:a16="http://schemas.microsoft.com/office/drawing/2014/main" id="{53FCC590-B54E-277A-E2CB-8636C25889FB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4000500" y="5881688"/>
            <a:ext cx="476250" cy="1603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C47435B-F185-4FF9-AB8A-31149ECC26D7}" type="datetime'''''''''''M''''ob''i''''''''l''''''''''''''''''y''''a'">
              <a:rPr lang="tr-TR" altLang="en-US" sz="1050" b="1" kern="1200" smtClean="0">
                <a:solidFill>
                  <a:schemeClr val="tx1"/>
                </a:solidFill>
                <a:effectLst/>
                <a:latin typeface="Proxima Nova" panose="020B0604020202020204" charset="0"/>
                <a:sym typeface="Proxima Nova" panose="020B060402020202020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Mobilya</a:t>
            </a:fld>
            <a:endParaRPr lang="tr-TR" sz="1050" b="1" kern="1200">
              <a:solidFill>
                <a:schemeClr val="tx1"/>
              </a:solidFill>
              <a:latin typeface="Proxima Nova" panose="020B0604020202020204" charset="0"/>
              <a:sym typeface="Proxima Nova" panose="020B0604020202020204" charset="0"/>
            </a:endParaRPr>
          </a:p>
        </p:txBody>
      </p:sp>
      <p:sp>
        <p:nvSpPr>
          <p:cNvPr id="609" name="Dikdörtgen 608">
            <a:extLst>
              <a:ext uri="{FF2B5EF4-FFF2-40B4-BE49-F238E27FC236}">
                <a16:creationId xmlns:a16="http://schemas.microsoft.com/office/drawing/2014/main" id="{6E2BB0EA-E304-0AAA-7527-232291D17012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5899150" y="6092825"/>
            <a:ext cx="419100" cy="1603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6A85DE0-4DBF-428A-BC05-D565500D7977}" type="datetime'''P''''''''''''''''''''''a''m''''''''u''''''''''''''''k'''''">
              <a:rPr lang="tr-TR" altLang="en-US" sz="1050" b="1" kern="1200" smtClean="0">
                <a:solidFill>
                  <a:schemeClr val="tx1"/>
                </a:solidFill>
                <a:effectLst/>
                <a:latin typeface="Proxima Nova" panose="020B0604020202020204" charset="0"/>
                <a:sym typeface="Proxima Nova" panose="020B060402020202020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Pamuk</a:t>
            </a:fld>
            <a:endParaRPr lang="tr-TR" sz="1050" b="1" kern="1200">
              <a:solidFill>
                <a:schemeClr val="tx1"/>
              </a:solidFill>
              <a:latin typeface="Proxima Nova" panose="020B0604020202020204" charset="0"/>
              <a:sym typeface="Proxima Nova" panose="020B0604020202020204" charset="0"/>
            </a:endParaRPr>
          </a:p>
        </p:txBody>
      </p:sp>
      <p:sp>
        <p:nvSpPr>
          <p:cNvPr id="610" name="Dikdörtgen 609">
            <a:extLst>
              <a:ext uri="{FF2B5EF4-FFF2-40B4-BE49-F238E27FC236}">
                <a16:creationId xmlns:a16="http://schemas.microsoft.com/office/drawing/2014/main" id="{0CE24002-BA8E-934B-71B6-31B64511565E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5899150" y="5881688"/>
            <a:ext cx="390525" cy="1603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91CCCE6-A087-4626-AE7D-D9261491FA2A}" type="datetime'''''H''''''a''''''''''l''''''''''''ı''''''l''''''''''''''ar'''">
              <a:rPr lang="tr-TR" altLang="en-US" sz="1050" b="1" kern="1200" smtClean="0">
                <a:solidFill>
                  <a:schemeClr val="tx1"/>
                </a:solidFill>
                <a:effectLst/>
                <a:latin typeface="Proxima Nova" panose="020B0604020202020204" charset="0"/>
                <a:sym typeface="Proxima Nova" panose="020B060402020202020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Halılar</a:t>
            </a:fld>
            <a:endParaRPr lang="tr-TR" sz="1050" b="1" kern="1200">
              <a:solidFill>
                <a:schemeClr val="tx1"/>
              </a:solidFill>
              <a:latin typeface="Proxima Nova" panose="020B0604020202020204" charset="0"/>
              <a:sym typeface="Proxima Nova" panose="020B0604020202020204" charset="0"/>
            </a:endParaRPr>
          </a:p>
        </p:txBody>
      </p:sp>
      <p:sp>
        <p:nvSpPr>
          <p:cNvPr id="611" name="Dikdörtgen 610">
            <a:extLst>
              <a:ext uri="{FF2B5EF4-FFF2-40B4-BE49-F238E27FC236}">
                <a16:creationId xmlns:a16="http://schemas.microsoft.com/office/drawing/2014/main" id="{C67E7444-CC9F-C72E-282F-EC020FD0A99F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2411413" y="6092825"/>
            <a:ext cx="1249363" cy="1603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0FF9157-D5D1-4689-A85B-3F42062CCB82}" type="datetime'''Ö''''rm''e o''''lmaya''n'''''''''''''''''' ''giyi''''m'''">
              <a:rPr lang="tr-TR" altLang="en-US" sz="1050" b="1" kern="1200" smtClean="0">
                <a:solidFill>
                  <a:schemeClr val="tx1"/>
                </a:solidFill>
                <a:effectLst/>
                <a:latin typeface="Proxima Nova" panose="020B0604020202020204" charset="0"/>
                <a:sym typeface="Proxima Nova" panose="020B060402020202020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Örme olmayan giyim</a:t>
            </a:fld>
            <a:endParaRPr lang="tr-TR" sz="1050" b="1" kern="1200">
              <a:solidFill>
                <a:schemeClr val="tx1"/>
              </a:solidFill>
              <a:latin typeface="Proxima Nova" panose="020B0604020202020204" charset="0"/>
              <a:sym typeface="Proxima Nova" panose="020B0604020202020204" charset="0"/>
            </a:endParaRPr>
          </a:p>
        </p:txBody>
      </p:sp>
      <p:sp>
        <p:nvSpPr>
          <p:cNvPr id="612" name="Dikdörtgen 611">
            <a:extLst>
              <a:ext uri="{FF2B5EF4-FFF2-40B4-BE49-F238E27FC236}">
                <a16:creationId xmlns:a16="http://schemas.microsoft.com/office/drawing/2014/main" id="{C649703D-F0A0-1D94-2048-2634B16B4F41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2411413" y="5881688"/>
            <a:ext cx="698500" cy="1603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5540720-96A6-451E-983C-95D52CA3652C}" type="datetime'Ör''''''''''m''''e'' g''''i''y''''''''''im'''''''''''">
              <a:rPr lang="tr-TR" altLang="en-US" sz="1050" b="1" kern="1200" smtClean="0">
                <a:solidFill>
                  <a:schemeClr val="tx1"/>
                </a:solidFill>
                <a:effectLst/>
                <a:latin typeface="Proxima Nova" panose="020B0604020202020204" charset="0"/>
                <a:sym typeface="Proxima Nova" panose="020B060402020202020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Örme giyim</a:t>
            </a:fld>
            <a:endParaRPr lang="tr-TR" sz="1050" b="1" kern="1200">
              <a:solidFill>
                <a:schemeClr val="tx1"/>
              </a:solidFill>
              <a:latin typeface="Proxima Nova" panose="020B0604020202020204" charset="0"/>
              <a:sym typeface="Proxima Nova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18338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15406E-2F63-8F1D-FB71-1610E0651C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C5BB71F-51B5-A54F-D8C2-699EEE781C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3000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425" imgH="426" progId="TCLayout.ActiveDocument.1">
                  <p:embed/>
                </p:oleObj>
              </mc:Choice>
              <mc:Fallback>
                <p:oleObj name="think-cell Slide" r:id="rId52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5BB71F-51B5-A54F-D8C2-699EEE781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2A1D67E-E2D9-17F3-1BF6-572FA67B5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ürkiye'nin tekstil ithalatında bulunan 2 basamaklı HS kodlarının oranları</a:t>
            </a:r>
          </a:p>
        </p:txBody>
      </p:sp>
      <p:graphicFrame>
        <p:nvGraphicFramePr>
          <p:cNvPr id="653" name="Chart 652">
            <a:extLst>
              <a:ext uri="{FF2B5EF4-FFF2-40B4-BE49-F238E27FC236}">
                <a16:creationId xmlns:a16="http://schemas.microsoft.com/office/drawing/2014/main" id="{B9E39E6F-C761-CBA1-D220-D99F61C1E50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0582734"/>
              </p:ext>
            </p:extLst>
          </p:nvPr>
        </p:nvGraphicFramePr>
        <p:xfrm>
          <a:off x="2552700" y="1181100"/>
          <a:ext cx="9137650" cy="4937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cxnSp>
        <p:nvCxnSpPr>
          <p:cNvPr id="416" name="Straight Connector 415">
            <a:extLst>
              <a:ext uri="{FF2B5EF4-FFF2-40B4-BE49-F238E27FC236}">
                <a16:creationId xmlns:a16="http://schemas.microsoft.com/office/drawing/2014/main" id="{9B29244F-D4A3-A622-DD23-2F11D4D5D17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559050" y="3422650"/>
            <a:ext cx="42863" cy="5508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59887BC7-5562-1630-ACA1-116993553AC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2559050" y="3219450"/>
            <a:ext cx="42863" cy="666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5" name="Straight Connector 634">
            <a:extLst>
              <a:ext uri="{FF2B5EF4-FFF2-40B4-BE49-F238E27FC236}">
                <a16:creationId xmlns:a16="http://schemas.microsoft.com/office/drawing/2014/main" id="{D3079DE1-576E-5730-D4A8-C199AE4000B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559050" y="3625850"/>
            <a:ext cx="42863" cy="4079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739FD78C-CE2E-3DA5-491B-0F54EA0A2000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2559050" y="3829050"/>
            <a:ext cx="42863" cy="2952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6" name="Straight Connector 625">
            <a:extLst>
              <a:ext uri="{FF2B5EF4-FFF2-40B4-BE49-F238E27FC236}">
                <a16:creationId xmlns:a16="http://schemas.microsoft.com/office/drawing/2014/main" id="{F8F5E270-DBC2-F4C8-B1B1-E3C347648861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>
            <a:off x="2559050" y="5048250"/>
            <a:ext cx="42863" cy="4746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0" name="Straight Connector 629">
            <a:extLst>
              <a:ext uri="{FF2B5EF4-FFF2-40B4-BE49-F238E27FC236}">
                <a16:creationId xmlns:a16="http://schemas.microsoft.com/office/drawing/2014/main" id="{E9DDB92A-BCBA-9984-E587-C521EC0A59A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2559050" y="4641850"/>
            <a:ext cx="42863" cy="5207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1" name="Straight Connector 630">
            <a:extLst>
              <a:ext uri="{FF2B5EF4-FFF2-40B4-BE49-F238E27FC236}">
                <a16:creationId xmlns:a16="http://schemas.microsoft.com/office/drawing/2014/main" id="{E7231509-4C2A-00C6-4055-C9DE6EF82289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>
            <a:off x="2559050" y="5251450"/>
            <a:ext cx="42863" cy="285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6" name="Straight Connector 635">
            <a:extLst>
              <a:ext uri="{FF2B5EF4-FFF2-40B4-BE49-F238E27FC236}">
                <a16:creationId xmlns:a16="http://schemas.microsoft.com/office/drawing/2014/main" id="{C5D19ED2-D1E2-BBA8-EF90-E0CBAB3278D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559050" y="4845050"/>
            <a:ext cx="42863" cy="5095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7" name="Straight Connector 636">
            <a:extLst>
              <a:ext uri="{FF2B5EF4-FFF2-40B4-BE49-F238E27FC236}">
                <a16:creationId xmlns:a16="http://schemas.microsoft.com/office/drawing/2014/main" id="{E41ED772-4E4B-5191-2324-6F837535B660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2559050" y="5454650"/>
            <a:ext cx="42863" cy="920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238B5073-8537-2BA2-61B6-7D486A597881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2559050" y="3016250"/>
            <a:ext cx="42863" cy="449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2" name="Straight Connector 641">
            <a:extLst>
              <a:ext uri="{FF2B5EF4-FFF2-40B4-BE49-F238E27FC236}">
                <a16:creationId xmlns:a16="http://schemas.microsoft.com/office/drawing/2014/main" id="{F91DC162-D619-E9EE-48D9-1652CEA4493D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2559050" y="4032250"/>
            <a:ext cx="42863" cy="2095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4" name="Straight Connector 643">
            <a:extLst>
              <a:ext uri="{FF2B5EF4-FFF2-40B4-BE49-F238E27FC236}">
                <a16:creationId xmlns:a16="http://schemas.microsoft.com/office/drawing/2014/main" id="{A5F8959F-F970-A71D-702F-5FBCD14361F1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2559050" y="4438650"/>
            <a:ext cx="42863" cy="4381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DD0E28F5-A210-37A9-7EA6-9FC9547848D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2559050" y="5861050"/>
            <a:ext cx="42863" cy="936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5EE129C8-9BDB-D374-AAC5-20F3C795C69F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2559050" y="1343025"/>
            <a:ext cx="42863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1F3047AE-249E-2DC1-9825-80D22C9B7F4D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2559050" y="1422400"/>
            <a:ext cx="42863" cy="1936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3" name="Straight Connector 642">
            <a:extLst>
              <a:ext uri="{FF2B5EF4-FFF2-40B4-BE49-F238E27FC236}">
                <a16:creationId xmlns:a16="http://schemas.microsoft.com/office/drawing/2014/main" id="{58C78DDB-6A19-BC06-FB89-7ACC2335EC2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2559050" y="4235450"/>
            <a:ext cx="42863" cy="228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21" name="Rectangle 620">
            <a:extLst>
              <a:ext uri="{FF2B5EF4-FFF2-40B4-BE49-F238E27FC236}">
                <a16:creationId xmlns:a16="http://schemas.microsoft.com/office/drawing/2014/main" id="{190726FD-F4A3-9448-F7F5-421E687D5AB6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277938" y="2222500"/>
            <a:ext cx="1255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61D1D47-B2DE-42CF-B8DB-8D6983CFAA5B}" type="datetime'D''i''ğe''r'' b''itk''is''e''''l ''teksti''l ''lifl''''eri'''">
              <a:rPr lang="tr-TR" altLang="en-US" sz="1000" b="1" kern="1200" smtClean="0">
                <a:solidFill>
                  <a:schemeClr val="tx1"/>
                </a:solidFill>
              </a:rPr>
              <a:pPr/>
              <a:t>Diğer bitkisel tekstil lif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94BC3950-172C-5493-8678-7ABE3B351327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660525" y="2641600"/>
            <a:ext cx="8731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A53CFBB-4EEF-4BF2-9B9A-40F9950915AC}" type="datetime'Ya''p''a''''y f''''''''''''i''l''''a''''''me''''n''t''le''r'">
              <a:rPr lang="tr-TR" altLang="en-US" sz="1000" b="1" kern="1200" smtClean="0">
                <a:solidFill>
                  <a:schemeClr val="tx1"/>
                </a:solidFill>
              </a:rPr>
              <a:pPr/>
              <a:t>Yapay filament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D5A5EA5F-87BC-59D0-BFC7-1C50354F687B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655763" y="2940050"/>
            <a:ext cx="8778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49DB166-F5C6-4477-85C3-DE932FD5EA7D}" type="datetime'''''Y''a''p''ay ''kesik''''''''l''''i li''f''''l''e''''r'''">
              <a:rPr lang="tr-TR" altLang="en-US" sz="1000" b="1" kern="1200" smtClean="0">
                <a:solidFill>
                  <a:schemeClr val="tx1"/>
                </a:solidFill>
              </a:rPr>
              <a:pPr/>
              <a:t>Yapay kesikli lif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CDEB298A-369D-E762-7CDA-621E17EC9F6A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923925" y="3143250"/>
            <a:ext cx="16097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AE204FD-F25F-4DA0-9986-C457A844E96D}" type="datetime'Vatk''a'''''''', k''''eçe ve dokus''u''z'''' yüz''ey''''le''r'">
              <a:rPr lang="tr-TR" altLang="en-US" sz="1000" b="1" kern="1200" smtClean="0">
                <a:solidFill>
                  <a:schemeClr val="tx1"/>
                </a:solidFill>
              </a:rPr>
              <a:pPr/>
              <a:t>Vatka, keçe ve dokusuz yüzey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6865F647-9843-449E-3FA5-A9BF4B6DD6E9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2214563" y="3346450"/>
            <a:ext cx="3190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C7DB0CA-22A0-48EB-A76E-32FF244134BA}" type="datetime'''''''''H''''''''''''''''a''''lıla''r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Halı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90F28279-94AC-B559-8434-10E9361BB405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395413" y="3549650"/>
            <a:ext cx="11382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BDA5F74-1AB2-46B2-913F-EEC80B4572DD}" type="datetime'''''''Öze''''''l ''''dok''um''a ku''m''a''şl''''''''''ar'''">
              <a:rPr lang="tr-TR" altLang="en-US" sz="1000" b="1" kern="1200" smtClean="0">
                <a:solidFill>
                  <a:schemeClr val="tx1"/>
                </a:solidFill>
              </a:rPr>
              <a:pPr/>
              <a:t>Özel dokuma kumaş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86724DEB-974E-E9F5-7908-E667C781B50C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341313" y="3752850"/>
            <a:ext cx="21923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6196899-5BE4-48DF-BE35-C1327B3FB063}" type="datetime'Emdir''ilmiş, ''kapl''anmış'''' veya la''mine kumaş''l''a''r'">
              <a:rPr lang="tr-TR" altLang="en-US" sz="1000" b="1" kern="1200" smtClean="0">
                <a:solidFill>
                  <a:schemeClr val="tx1"/>
                </a:solidFill>
              </a:rPr>
              <a:pPr/>
              <a:t>Emdirilmiş, kaplanmış veya lamine kumaşlar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3ABBF0D-148C-F3F6-9DBD-BF76C4F76E17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633888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sz="1000" b="1" kern="1200" smtClean="0">
                <a:solidFill>
                  <a:schemeClr val="tx1"/>
                </a:solidFill>
              </a:rPr>
              <a:pPr/>
              <a:t>2016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7122C031-AF33-ACDA-81BC-E186AD55530A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954213" y="4159250"/>
            <a:ext cx="5794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507D8AB-2B89-491C-A756-0C09444FCF12}" type="datetime'''Ö''''''''rme'''''''''' ''''''''''g''''''''i''yi''m'''''''">
              <a:rPr lang="tr-TR" altLang="en-US" sz="1000" b="1" kern="1200" smtClean="0">
                <a:solidFill>
                  <a:schemeClr val="tx1"/>
                </a:solidFill>
              </a:rPr>
              <a:pPr/>
              <a:t>Örme giyim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07845289-C7DD-7204-24E5-A8D9E471BE30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497013" y="4362450"/>
            <a:ext cx="10366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806CBCB-5C81-4D14-8C7E-FFD01AAF234C}" type="datetime'Ö''r''''''me'''' ol''ma''''''y''an ''g''i''''''''''y''''im'''">
              <a:rPr lang="tr-TR" altLang="en-US" sz="1000" b="1" kern="1200" smtClean="0">
                <a:solidFill>
                  <a:schemeClr val="tx1"/>
                </a:solidFill>
              </a:rPr>
              <a:pPr/>
              <a:t>Örme olmayan giyim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633DCB23-C7C2-F113-FEBE-BE48EAA08355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239838" y="4565650"/>
            <a:ext cx="12938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2E21612-40ED-494E-8F66-5F8AFA192C86}" type="datetime'D''i''ğer haz''''ır tekst''i''''''''l ür''ün''ler''''''''i'">
              <a:rPr lang="tr-TR" altLang="en-US" sz="1000" b="1" kern="1200" smtClean="0">
                <a:solidFill>
                  <a:schemeClr val="tx1"/>
                </a:solidFill>
              </a:rPr>
              <a:pPr/>
              <a:t>Diğer hazır tekstil ürün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5E785367-2E39-C4F7-9866-215CAE64AE7B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958975" y="4768850"/>
            <a:ext cx="57467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8A0B348-9E22-4C81-8FCC-0440CAD8B92D}" type="datetime'''''A''''''''''y''a''''''''''''k''k''''''''a''b''ıl''a''r'''''">
              <a:rPr lang="tr-TR" altLang="en-US" sz="1000" b="1" kern="1200" smtClean="0">
                <a:solidFill>
                  <a:schemeClr val="tx1"/>
                </a:solidFill>
              </a:rPr>
              <a:pPr/>
              <a:t>Ayakkabı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2C4463CD-CE12-6C5C-9C21-2909658BF27C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2130425" y="5581650"/>
            <a:ext cx="4032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1FDC3E0-73E8-4E91-B009-BC95A798E6F5}" type="datetime'''''''''Mo''''''''''''b''''''''''i''''''''''''''l''''ya'">
              <a:rPr lang="tr-TR" altLang="en-US" sz="1000" b="1" kern="1200" smtClean="0">
                <a:solidFill>
                  <a:schemeClr val="tx1"/>
                </a:solidFill>
              </a:rPr>
              <a:pPr/>
              <a:t>Mobilya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624" name="Rectangle 623">
            <a:extLst>
              <a:ext uri="{FF2B5EF4-FFF2-40B4-BE49-F238E27FC236}">
                <a16:creationId xmlns:a16="http://schemas.microsoft.com/office/drawing/2014/main" id="{1005815B-680C-363A-640A-6D16D3701D57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2122488" y="4972050"/>
            <a:ext cx="4111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08C62C1-D693-4B9E-B9E1-CE19A8A9B600}" type="datetime'''B''''''''''''a''ş''''lı''k''l''''''''''a''''r'''''''''">
              <a:rPr lang="tr-TR" altLang="en-US" sz="1000" b="1" kern="1200" smtClean="0">
                <a:solidFill>
                  <a:schemeClr val="tx1"/>
                </a:solidFill>
              </a:rPr>
              <a:pPr/>
              <a:t>Başlık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D0062E-EA07-CC8F-F3B5-008411C3F6B3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6896100" y="6259513"/>
            <a:ext cx="112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b="1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628" name="Rectangle 627">
            <a:extLst>
              <a:ext uri="{FF2B5EF4-FFF2-40B4-BE49-F238E27FC236}">
                <a16:creationId xmlns:a16="http://schemas.microsoft.com/office/drawing/2014/main" id="{842C1910-66D0-82B7-E12E-AC13B167C43D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1346199" y="5175250"/>
            <a:ext cx="118745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F7F24B3-7F07-4FEB-A555-3A98B5272CA6}" type="datetime'Şem''''''''''si''''ye''ler'' v''e ''''bast''''on''''''lar'''">
              <a:rPr lang="tr-TR" altLang="en-US" sz="1000" b="1" kern="1200" smtClean="0">
                <a:solidFill>
                  <a:schemeClr val="tx1"/>
                </a:solidFill>
              </a:rPr>
              <a:pPr/>
              <a:t>Şemsiyeler ve baston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88D7217-9BDC-F43F-7FEE-14BB8A5238CA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1688763" y="1703387"/>
            <a:ext cx="152400" cy="3892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  <a:effectLst/>
              </a:rPr>
              <a:t>Türkiye'nin tekstil ithalatında bulunan 2 basamaklı HS kodlarının oranları (%)</a:t>
            </a:r>
            <a:endParaRPr lang="tr-TR" sz="1000" kern="12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A3A3FDA-0630-05C0-0696-013764A5D2F3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250190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sz="1000" b="1" kern="1200" smtClean="0">
                <a:solidFill>
                  <a:schemeClr val="tx1"/>
                </a:solidFill>
              </a:rPr>
              <a:pPr/>
              <a:t>2012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633" name="Rectangle 632">
            <a:extLst>
              <a:ext uri="{FF2B5EF4-FFF2-40B4-BE49-F238E27FC236}">
                <a16:creationId xmlns:a16="http://schemas.microsoft.com/office/drawing/2014/main" id="{212B55EE-32FC-201B-217B-A1FD8084D75D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1528763" y="5378450"/>
            <a:ext cx="10048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D6701FB-0544-4837-941A-C4620D66FD28}" type="datetime'Tü''yle''r ''v''''e'''''''' k''''''''uş ''''t''ü''y''l''er''i'">
              <a:rPr lang="tr-TR" altLang="en-US" sz="1000" b="1" kern="1200" smtClean="0">
                <a:solidFill>
                  <a:schemeClr val="tx1"/>
                </a:solidFill>
              </a:rPr>
              <a:pPr/>
              <a:t>Tüyler ve kuş tüy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E272824-AD00-DD0A-CB14-FE5E0D6708AA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346075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2013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971D93C-134F-7BF0-B986-25D263DC133A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441960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sz="1000" b="1" kern="1200" smtClean="0">
                <a:solidFill>
                  <a:schemeClr val="tx1"/>
                </a:solidFill>
              </a:rPr>
              <a:pPr/>
              <a:t>2014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ACB47CB6-4B23-6E38-C126-11CF10B942C4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538003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sz="1000" b="1" kern="1200" smtClean="0">
                <a:solidFill>
                  <a:schemeClr val="tx1"/>
                </a:solidFill>
              </a:rPr>
              <a:pPr/>
              <a:t>2015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639" name="Rectangle 638">
            <a:extLst>
              <a:ext uri="{FF2B5EF4-FFF2-40B4-BE49-F238E27FC236}">
                <a16:creationId xmlns:a16="http://schemas.microsoft.com/office/drawing/2014/main" id="{1EB677BD-C2BC-7D8D-8AE3-9C0E3243FCA0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2252663" y="5784850"/>
            <a:ext cx="2809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9EDFD99-91F5-4349-846E-E76DFE6C3522}" type="datetime'''Sa''''''n''''''''''''''''''''''''''''''''''''a''t'''''">
              <a:rPr lang="tr-TR" altLang="en-US" sz="1000" b="1" kern="1200" smtClean="0">
                <a:solidFill>
                  <a:schemeClr val="tx1"/>
                </a:solidFill>
              </a:rPr>
              <a:pPr/>
              <a:t>Sanat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24D5376B-FA1A-990A-B683-937ADA32D787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729773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sz="1000" b="1" kern="1200" smtClean="0">
                <a:solidFill>
                  <a:schemeClr val="tx1"/>
                </a:solidFill>
              </a:rPr>
              <a:pPr/>
              <a:t>2017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1FFBD1D-00E8-7667-EF4F-C62B13556C68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825658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sz="1000" b="1" kern="1200" smtClean="0">
                <a:solidFill>
                  <a:schemeClr val="tx1"/>
                </a:solidFill>
              </a:rPr>
              <a:pPr/>
              <a:t>2018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74AC8180-4EE8-303B-4188-A4D879B3F4F1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1766888" y="3956050"/>
            <a:ext cx="7667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630AF04-3510-4E3B-864F-881ADF1BF4CF}" type="datetime'''Ö''''''r''''me'''' ''k''u''m''''''aşla''''''''r'''''">
              <a:rPr lang="tr-TR" altLang="en-US" sz="1000" b="1" kern="1200" smtClean="0">
                <a:solidFill>
                  <a:schemeClr val="tx1"/>
                </a:solidFill>
              </a:rPr>
              <a:pPr/>
              <a:t>Örme kumaş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E95410A0-0679-8CC2-C240-56578201458D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921702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sz="1000" b="1" kern="1200" smtClean="0">
                <a:solidFill>
                  <a:schemeClr val="tx1"/>
                </a:solidFill>
              </a:rPr>
              <a:pPr/>
              <a:t>2019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B03BEF0-BE14-E16C-5E1D-CCDD0E54C1BB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1017587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sz="1000" b="1" kern="1200" smtClean="0">
                <a:solidFill>
                  <a:schemeClr val="tx1"/>
                </a:solidFill>
              </a:rPr>
              <a:pPr/>
              <a:t>2020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649" name="Rectangle 648">
            <a:extLst>
              <a:ext uri="{FF2B5EF4-FFF2-40B4-BE49-F238E27FC236}">
                <a16:creationId xmlns:a16="http://schemas.microsoft.com/office/drawing/2014/main" id="{316F97E8-855E-B33D-C833-8F832F2CF3E2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2320925" y="1336675"/>
            <a:ext cx="2127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FE93A7F-93B9-42EB-8C27-0A6FA3F3A4F7}" type="datetime'''İ''p''e''''''''''''''''k'">
              <a:rPr lang="tr-TR" altLang="en-US" sz="1000" b="1" kern="1200" smtClean="0">
                <a:solidFill>
                  <a:schemeClr val="tx1"/>
                </a:solidFill>
              </a:rPr>
              <a:pPr/>
              <a:t>İpek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921996D2-8418-919D-765E-E01349052E92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1113472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sz="1000" b="1" kern="1200" smtClean="0">
                <a:solidFill>
                  <a:schemeClr val="tx1"/>
                </a:solidFill>
              </a:rPr>
              <a:pPr/>
              <a:t>2021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C6C6562E-67B8-F5D9-FAFF-074ED976AD4D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2344738" y="1539875"/>
            <a:ext cx="1889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FC4CE06-13A9-4B7C-8FFC-EF343D08DB11}" type="datetime'''Y''''''''''''''''''''''''''''''''''''ün'''''''''''''''''''">
              <a:rPr lang="tr-TR" altLang="en-US" sz="1000" b="1" kern="12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Yün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F6FDAF56-2EBB-6D48-BB55-190BFA9F3998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2192338" y="1803400"/>
            <a:ext cx="3413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3C72B19-195D-49FB-8A81-2995133718D6}" type="datetime'''''''''''''''''''''''''''''''Pa''''mu''''''''''''''''''k'">
              <a:rPr lang="tr-TR" altLang="en-US" sz="1000" b="1" kern="1200" smtClean="0">
                <a:solidFill>
                  <a:schemeClr val="tx1"/>
                </a:solidFill>
              </a:rPr>
              <a:pPr/>
              <a:t>Pamuk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DBD5DB2F-450B-6ED3-7D34-2C5B9110F267}"/>
              </a:ext>
            </a:extLst>
          </p:cNvPr>
          <p:cNvSpPr/>
          <p:nvPr/>
        </p:nvSpPr>
        <p:spPr>
          <a:xfrm>
            <a:off x="6764257" y="1603823"/>
            <a:ext cx="5977143" cy="212393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Yukarıdakinin aynısını yapsan.</a:t>
            </a: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Resm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renkler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kullanalım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Kaynakça</a:t>
            </a:r>
            <a:r>
              <a:rPr lang="en-US" sz="1400" b="1" dirty="0">
                <a:solidFill>
                  <a:schemeClr val="tx1"/>
                </a:solidFill>
              </a:rPr>
              <a:t> yok</a:t>
            </a: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Başlıkta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yıllar</a:t>
            </a:r>
            <a:r>
              <a:rPr lang="en-US" sz="1400" b="1" dirty="0">
                <a:solidFill>
                  <a:schemeClr val="tx1"/>
                </a:solidFill>
              </a:rPr>
              <a:t> yok</a:t>
            </a:r>
          </a:p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9835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7301DC-2044-E7F3-A9C3-403A1DAE52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FBC0D09-B320-5F4E-B7D8-01C4F167D2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4285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25" imgH="426" progId="TCLayout.ActiveDocument.1">
                  <p:embed/>
                </p:oleObj>
              </mc:Choice>
              <mc:Fallback>
                <p:oleObj name="think-cell Slide" r:id="rId21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BC0D09-B320-5F4E-B7D8-01C4F167D2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CD7E439-08FC-CFF6-A832-9B7B88B92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ürkiye'nin tekstil ihracatında bulunan başlıca 4 basamaklı HS kodlarının oranları</a:t>
            </a:r>
          </a:p>
        </p:txBody>
      </p:sp>
      <p:graphicFrame>
        <p:nvGraphicFramePr>
          <p:cNvPr id="353" name="Chart 352">
            <a:extLst>
              <a:ext uri="{FF2B5EF4-FFF2-40B4-BE49-F238E27FC236}">
                <a16:creationId xmlns:a16="http://schemas.microsoft.com/office/drawing/2014/main" id="{A5AD3932-F247-98FA-DCB7-5EBEBFDC8B6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656716"/>
              </p:ext>
            </p:extLst>
          </p:nvPr>
        </p:nvGraphicFramePr>
        <p:xfrm>
          <a:off x="920750" y="1181100"/>
          <a:ext cx="10706100" cy="4937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CD9C130B-AF74-B3DD-4EB6-097CD3EE21A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080125" y="6259513"/>
            <a:ext cx="112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b="1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A202433-D376-1EDF-4656-655DDC050BC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1625263" y="1689100"/>
            <a:ext cx="152400" cy="39211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  <a:effectLst/>
              </a:rPr>
              <a:t>Türkiye'nin tekstil ihracatında bulunan 4 basamaklı HS kodlarının oranları (%)</a:t>
            </a:r>
            <a:endParaRPr lang="tr-TR" sz="1000" kern="12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6502F2F-2896-3D69-0890-F3CA28A9AAEE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86995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sz="1000" b="1" kern="1200" smtClean="0">
                <a:solidFill>
                  <a:schemeClr val="tx1"/>
                </a:solidFill>
              </a:rPr>
              <a:pPr/>
              <a:t>2012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79E8A00-35A9-59B4-A6AC-32520572115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00977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2013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5E5D036-631F-70F7-8B38-DE3CD7F5AA3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15118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sz="1000" b="1" kern="1200" smtClean="0">
                <a:solidFill>
                  <a:schemeClr val="tx1"/>
                </a:solidFill>
              </a:rPr>
              <a:pPr/>
              <a:t>2014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7270AE9-07B0-98DB-9B14-09D1F99EA3A8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291013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sz="1000" b="1" kern="1200" smtClean="0">
                <a:solidFill>
                  <a:schemeClr val="tx1"/>
                </a:solidFill>
              </a:rPr>
              <a:pPr/>
              <a:t>2015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196DEEAD-EA3D-38D0-3169-7587D77AC97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43242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sz="1000" b="1" kern="1200" smtClean="0">
                <a:solidFill>
                  <a:schemeClr val="tx1"/>
                </a:solidFill>
              </a:rPr>
              <a:pPr/>
              <a:t>2016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ABE537D0-CAE6-6B5D-6350-3160B5C9087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657225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sz="1000" b="1" kern="1200" smtClean="0">
                <a:solidFill>
                  <a:schemeClr val="tx1"/>
                </a:solidFill>
              </a:rPr>
              <a:pPr/>
              <a:t>2017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7C5E0481-6693-6E68-BF14-82242C944190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713663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sz="1000" b="1" kern="1200" smtClean="0">
                <a:solidFill>
                  <a:schemeClr val="tx1"/>
                </a:solidFill>
              </a:rPr>
              <a:pPr/>
              <a:t>2018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8B17D6C-3752-8590-50CD-AB9B5A43ED5A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85348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sz="1000" b="1" kern="1200" smtClean="0">
                <a:solidFill>
                  <a:schemeClr val="tx1"/>
                </a:solidFill>
              </a:rPr>
              <a:pPr/>
              <a:t>2019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FD24076D-624A-77E5-88E4-C8C2782B3B82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999490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sz="1000" b="1" kern="1200" smtClean="0">
                <a:solidFill>
                  <a:schemeClr val="tx1"/>
                </a:solidFill>
              </a:rPr>
              <a:pPr/>
              <a:t>2020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3E5C4DF-2621-8E30-24E1-B0E705DFA907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113472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sz="1000" b="1" kern="1200" smtClean="0">
                <a:solidFill>
                  <a:schemeClr val="tx1"/>
                </a:solidFill>
              </a:rPr>
              <a:pPr/>
              <a:t>2021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99EE7145-AC1F-E5CA-1FC9-A664197FC275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47700" y="2725738"/>
            <a:ext cx="2540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8978124-7549-4F8C-8D28-B64F0446DC2B}" type="datetime'''''''''''6''''''''''''10''9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6109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7D77E17-FAC3-FDB9-8BE0-35C29FD7751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47700" y="3763963"/>
            <a:ext cx="2540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44F841A-30F9-4F58-9EB6-C14A36EA6CEE}" type="datetime'''''''''''''''''''6''''1''1''''''''''''''''0'''''''''''">
              <a:rPr lang="tr-TR" altLang="en-US" sz="1000" b="1" kern="1200" smtClean="0">
                <a:solidFill>
                  <a:schemeClr val="tx1"/>
                </a:solidFill>
              </a:rPr>
              <a:pPr/>
              <a:t>6110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4492964-7511-7EA4-CE9B-2B74E26294D1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47700" y="4484688"/>
            <a:ext cx="2540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34035AD-592A-45FE-8661-B59C545AA43E}" type="datetime'6''2''''''''0''''''3''''''''''''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6203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A6613E4-6415-4CF6-3F0C-3CF70CFE91D4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47700" y="5375275"/>
            <a:ext cx="2540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08CDC42-613C-4C1B-A789-68305057142F}" type="datetime'''''''''''''''''''6''''''''''2''''''04'''''''''''">
              <a:rPr lang="tr-TR" altLang="en-US" sz="1000" b="1" kern="1200" smtClean="0">
                <a:solidFill>
                  <a:schemeClr val="tx1"/>
                </a:solidFill>
              </a:rPr>
              <a:pPr/>
              <a:t>6204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BF2BF8BF-574C-0B39-97C5-8F771DC9F342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47700" y="1673225"/>
            <a:ext cx="2540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295A9FA-0772-4B11-93F7-6953304F3E26}" type="datetime'''''''5''''''''''''''7''0''''''''2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5702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AE39B1B6-58CB-6A01-EA40-FE0E63B04FEA}"/>
              </a:ext>
            </a:extLst>
          </p:cNvPr>
          <p:cNvSpPr/>
          <p:nvPr/>
        </p:nvSpPr>
        <p:spPr>
          <a:xfrm>
            <a:off x="8592344" y="-70232"/>
            <a:ext cx="3338512" cy="164316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6204: Kadın veya kız çocukları için takım elbise, ceket, etek vb. giysiler. 6203: Erkek veya erkek çocukları için takım elbise, ceket, pantolon vb. giysiler. 6110: Örme kazak, süveter, hırka vb. ürünler. 6109: Tişörtler, atletler ve diğer iç giyim eşyaları. 5702: Halı ve diğer tekstil döşeme ürünleri.</a:t>
            </a:r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64A10673-0262-A96A-F78D-E1631A344D7F}"/>
              </a:ext>
            </a:extLst>
          </p:cNvPr>
          <p:cNvSpPr/>
          <p:nvPr/>
        </p:nvSpPr>
        <p:spPr>
          <a:xfrm>
            <a:off x="3233738" y="892640"/>
            <a:ext cx="3338512" cy="38711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Kötü oldu diye ihracatı yapmadım</a:t>
            </a: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4ACB8BA7-710F-4EF3-A54A-DA78D8EFA9F7}"/>
              </a:ext>
            </a:extLst>
          </p:cNvPr>
          <p:cNvSpPr/>
          <p:nvPr/>
        </p:nvSpPr>
        <p:spPr>
          <a:xfrm>
            <a:off x="6774089" y="1603823"/>
            <a:ext cx="5977143" cy="212393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 err="1">
                <a:solidFill>
                  <a:schemeClr val="tx1"/>
                </a:solidFill>
              </a:rPr>
              <a:t>Treemap</a:t>
            </a:r>
            <a:r>
              <a:rPr lang="tr-TR" sz="1800" b="1" dirty="0">
                <a:solidFill>
                  <a:schemeClr val="tx1"/>
                </a:solidFill>
              </a:rPr>
              <a:t>!!!!</a:t>
            </a: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Resm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renkler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kullanalım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Kaynakça</a:t>
            </a:r>
            <a:r>
              <a:rPr lang="en-US" sz="1400" b="1" dirty="0">
                <a:solidFill>
                  <a:schemeClr val="tx1"/>
                </a:solidFill>
              </a:rPr>
              <a:t> yok</a:t>
            </a: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Başlıkta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yıllar</a:t>
            </a:r>
            <a:r>
              <a:rPr lang="en-US" sz="1400" b="1" dirty="0">
                <a:solidFill>
                  <a:schemeClr val="tx1"/>
                </a:solidFill>
              </a:rPr>
              <a:t> yok</a:t>
            </a:r>
          </a:p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69236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5324DA-DF9E-65F8-79C3-F84B261C8B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36BE948-A66A-ED93-4D60-D88E950EEF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0141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425" imgH="426" progId="TCLayout.ActiveDocument.1">
                  <p:embed/>
                </p:oleObj>
              </mc:Choice>
              <mc:Fallback>
                <p:oleObj name="think-cell Slide" r:id="rId51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6BE948-A66A-ED93-4D60-D88E950EE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38B73B-AF9E-E2F6-EECB-1478F35CA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Dünyada tekstil ticaretinde bulunan 2 basamaklı HS kodlarının oranları</a:t>
            </a:r>
          </a:p>
        </p:txBody>
      </p:sp>
      <p:graphicFrame>
        <p:nvGraphicFramePr>
          <p:cNvPr id="870" name="Chart 869">
            <a:extLst>
              <a:ext uri="{FF2B5EF4-FFF2-40B4-BE49-F238E27FC236}">
                <a16:creationId xmlns:a16="http://schemas.microsoft.com/office/drawing/2014/main" id="{D34566D0-C366-A2E4-A447-7465D352C85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5479009"/>
              </p:ext>
            </p:extLst>
          </p:nvPr>
        </p:nvGraphicFramePr>
        <p:xfrm>
          <a:off x="2552700" y="1181100"/>
          <a:ext cx="9137650" cy="4937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cxnSp>
        <p:nvCxnSpPr>
          <p:cNvPr id="416" name="Straight Connector 415">
            <a:extLst>
              <a:ext uri="{FF2B5EF4-FFF2-40B4-BE49-F238E27FC236}">
                <a16:creationId xmlns:a16="http://schemas.microsoft.com/office/drawing/2014/main" id="{9F6D7461-87DE-3419-3FFF-347367A0BCA5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V="1">
            <a:off x="2559050" y="2178050"/>
            <a:ext cx="42863" cy="6572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A01829B1-1F68-8CCB-0F79-0291F90D087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2559050" y="1970088"/>
            <a:ext cx="42863" cy="458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9" name="Straight Connector 428">
            <a:extLst>
              <a:ext uri="{FF2B5EF4-FFF2-40B4-BE49-F238E27FC236}">
                <a16:creationId xmlns:a16="http://schemas.microsoft.com/office/drawing/2014/main" id="{4B6420B0-44DE-BCA0-20B9-2F0339F6537E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2559050" y="1377950"/>
            <a:ext cx="42863" cy="2381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2" name="Straight Connector 431">
            <a:extLst>
              <a:ext uri="{FF2B5EF4-FFF2-40B4-BE49-F238E27FC236}">
                <a16:creationId xmlns:a16="http://schemas.microsoft.com/office/drawing/2014/main" id="{90CB2F40-3CA1-09D2-C057-E0F6A9468B1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V="1">
            <a:off x="2559050" y="1792288"/>
            <a:ext cx="42863" cy="433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6039E404-7872-8D02-5B85-7D532D961BA0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V="1">
            <a:off x="2559050" y="2100263"/>
            <a:ext cx="42863" cy="5318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1" name="Straight Connector 430">
            <a:extLst>
              <a:ext uri="{FF2B5EF4-FFF2-40B4-BE49-F238E27FC236}">
                <a16:creationId xmlns:a16="http://schemas.microsoft.com/office/drawing/2014/main" id="{5C298048-9CD6-DE2E-D7A9-9588E2C7FD3D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V="1">
            <a:off x="2559050" y="1689100"/>
            <a:ext cx="42863" cy="3333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5" name="Straight Connector 634">
            <a:extLst>
              <a:ext uri="{FF2B5EF4-FFF2-40B4-BE49-F238E27FC236}">
                <a16:creationId xmlns:a16="http://schemas.microsoft.com/office/drawing/2014/main" id="{6F961A8B-3D62-84BA-AD06-E12F3E423955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V="1">
            <a:off x="2559050" y="2233613"/>
            <a:ext cx="42863" cy="8048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B43A1778-581D-BFE1-8E0B-F644981D5227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V="1">
            <a:off x="2559050" y="2305050"/>
            <a:ext cx="42863" cy="9366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2" name="Straight Connector 641">
            <a:extLst>
              <a:ext uri="{FF2B5EF4-FFF2-40B4-BE49-F238E27FC236}">
                <a16:creationId xmlns:a16="http://schemas.microsoft.com/office/drawing/2014/main" id="{11AE3581-3F1F-DE2A-9DBC-6CC23736A4D2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 flipV="1">
            <a:off x="2559050" y="2409825"/>
            <a:ext cx="42863" cy="10350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3" name="Straight Connector 642">
            <a:extLst>
              <a:ext uri="{FF2B5EF4-FFF2-40B4-BE49-F238E27FC236}">
                <a16:creationId xmlns:a16="http://schemas.microsoft.com/office/drawing/2014/main" id="{BB7A2754-070A-CBC4-8E80-B8E8FD53D486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 flipV="1">
            <a:off x="2559050" y="2895600"/>
            <a:ext cx="42863" cy="7524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6" name="Straight Connector 625">
            <a:extLst>
              <a:ext uri="{FF2B5EF4-FFF2-40B4-BE49-F238E27FC236}">
                <a16:creationId xmlns:a16="http://schemas.microsoft.com/office/drawing/2014/main" id="{3F1FB9F3-9ED4-8665-AB7C-93BDC6407847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2559050" y="4751388"/>
            <a:ext cx="42863" cy="179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7" name="Straight Connector 636">
            <a:extLst>
              <a:ext uri="{FF2B5EF4-FFF2-40B4-BE49-F238E27FC236}">
                <a16:creationId xmlns:a16="http://schemas.microsoft.com/office/drawing/2014/main" id="{BEDDB567-5B2C-983E-3E29-134C1ED9A79C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 flipV="1">
            <a:off x="2559050" y="4976814"/>
            <a:ext cx="42863" cy="1809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5F4FD408-6BE0-CCA2-7363-F0F48034A164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2559050" y="5861051"/>
            <a:ext cx="42863" cy="539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8" name="Straight Connector 867">
            <a:extLst>
              <a:ext uri="{FF2B5EF4-FFF2-40B4-BE49-F238E27FC236}">
                <a16:creationId xmlns:a16="http://schemas.microsoft.com/office/drawing/2014/main" id="{9C2132EC-287A-8A0F-E781-BC8283DA29A8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2559050" y="1341438"/>
            <a:ext cx="42863" cy="7143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7C5C5ADE-432A-E99F-5637-7D8300420CD6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2559050" y="1544638"/>
            <a:ext cx="42863" cy="27463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67654364-EFDC-AC57-67B9-D0ABC664FB03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113472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sz="1000" b="1" kern="1200" smtClean="0">
                <a:solidFill>
                  <a:schemeClr val="tx1"/>
                </a:solidFill>
              </a:rPr>
              <a:pPr/>
              <a:t>2021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4A1BEFDA-9E57-2A7B-312B-CB3D42729A9B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344738" y="1539875"/>
            <a:ext cx="1889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FC4CE06-13A9-4B7C-8FFC-EF343D08DB11}" type="datetime'''Y''''''''''''''''''''''''''''''''''''ün'''''''''''''''''''">
              <a:rPr lang="tr-TR" altLang="en-US" sz="1000" b="1" kern="12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Yün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46005597-FEC1-6D16-D876-83CE542B26CA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192338" y="1743075"/>
            <a:ext cx="3413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3C72B19-195D-49FB-8A81-2995133718D6}" type="datetime'''''''''''''''''''''''''''''''Pa''''mu''''''''''''''''''k'">
              <a:rPr lang="tr-TR" altLang="en-US" sz="1000" b="1" kern="1200" smtClean="0">
                <a:solidFill>
                  <a:schemeClr val="tx1"/>
                </a:solidFill>
              </a:rPr>
              <a:pPr/>
              <a:t>Pamuk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621" name="Rectangle 620">
            <a:extLst>
              <a:ext uri="{FF2B5EF4-FFF2-40B4-BE49-F238E27FC236}">
                <a16:creationId xmlns:a16="http://schemas.microsoft.com/office/drawing/2014/main" id="{A95FE065-1A51-1B42-2FDB-4C60AC9DA9A3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277938" y="1946275"/>
            <a:ext cx="1255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61D1D47-B2DE-42CF-B8DB-8D6983CFAA5B}" type="datetime'D''i''ğe''r'' b''itk''is''e''''l ''teksti''l ''lifl''''eri'''">
              <a:rPr lang="tr-TR" altLang="en-US" sz="1000" b="1" kern="1200" smtClean="0">
                <a:solidFill>
                  <a:schemeClr val="tx1"/>
                </a:solidFill>
              </a:rPr>
              <a:pPr/>
              <a:t>Diğer bitkisel tekstil lif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F9D38CF6-9CAC-6220-179F-4F68B15EA2AD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660525" y="2149475"/>
            <a:ext cx="8731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A53CFBB-4EEF-4BF2-9B9A-40F9950915AC}" type="datetime'Ya''p''a''''y f''''''''''''i''l''''a''''''me''''n''t''le''r'">
              <a:rPr lang="tr-TR" altLang="en-US" sz="1000" b="1" kern="1200" smtClean="0">
                <a:solidFill>
                  <a:schemeClr val="tx1"/>
                </a:solidFill>
              </a:rPr>
              <a:pPr/>
              <a:t>Yapay filament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CFB372BB-D1AE-3EF8-D33E-EB57776F590E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655763" y="2352675"/>
            <a:ext cx="8778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49DB166-F5C6-4477-85C3-DE932FD5EA7D}" type="datetime'''''Y''a''p''ay ''kesik''''''''l''''i li''f''''l''e''''r'''">
              <a:rPr lang="tr-TR" altLang="en-US" sz="1000" b="1" kern="1200" smtClean="0">
                <a:solidFill>
                  <a:schemeClr val="tx1"/>
                </a:solidFill>
              </a:rPr>
              <a:pPr/>
              <a:t>Yapay kesikli lif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520A40E7-5BEE-976D-B070-FBF75EE46B73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923925" y="2555875"/>
            <a:ext cx="16097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AE204FD-F25F-4DA0-9986-C457A844E96D}" type="datetime'Vatk''a'''''''', k''''eçe ve dokus''u''z'''' yüz''ey''''le''r'">
              <a:rPr lang="tr-TR" altLang="en-US" sz="1000" b="1" kern="1200" smtClean="0">
                <a:solidFill>
                  <a:schemeClr val="tx1"/>
                </a:solidFill>
              </a:rPr>
              <a:pPr/>
              <a:t>Vatka, keçe ve dokusuz yüzeyle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17B5D9E7-7AF4-AA73-3152-E8E27F155564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2214563" y="2759075"/>
            <a:ext cx="3190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C7DB0CA-22A0-48EB-A76E-32FF244134BA}" type="datetime'''''''''H''''''''''''''''a''''lıla''r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Halı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C338B10-1088-FA45-3FE6-C8609D4699B4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633888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sz="1000" b="1" kern="1200" smtClean="0">
                <a:solidFill>
                  <a:schemeClr val="tx1"/>
                </a:solidFill>
              </a:rPr>
              <a:pPr/>
              <a:t>2016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AD41E70A-83D1-15B7-B06A-002559E97485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395413" y="2962275"/>
            <a:ext cx="11382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BDA5F74-1AB2-46B2-913F-EEC80B4572DD}" type="datetime'''''''Öze''''''l ''''dok''um''a ku''m''a''şl''''''''''ar'''">
              <a:rPr lang="tr-TR" altLang="en-US" sz="1000" b="1" kern="1200" smtClean="0">
                <a:solidFill>
                  <a:schemeClr val="tx1"/>
                </a:solidFill>
              </a:rPr>
              <a:pPr/>
              <a:t>Özel dokuma kumaş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64F999-3D05-FE87-6FD5-BE6BCAD565E9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6896100" y="6259513"/>
            <a:ext cx="112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b="1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FA6B842B-0A73-3C11-D926-270EC4B38901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341313" y="3165475"/>
            <a:ext cx="21923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6196899-5BE4-48DF-BE35-C1327B3FB063}" type="datetime'Emdir''ilmiş, ''kapl''anmış'''' veya la''mine kumaş''l''a''r'">
              <a:rPr lang="tr-TR" altLang="en-US" sz="1000" b="1" kern="1200" smtClean="0">
                <a:solidFill>
                  <a:schemeClr val="tx1"/>
                </a:solidFill>
              </a:rPr>
              <a:pPr/>
              <a:t>Emdirilmiş, kaplanmış veya lamine kumaşlar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97C460C-802D-79A7-9E50-EDB5848A5784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1688763" y="1754187"/>
            <a:ext cx="152400" cy="37909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  <a:effectLst/>
              </a:rPr>
              <a:t>Dünyada tekstil ticaretinde bulunan 2 basamaklı HS kodlarının oranları (%)</a:t>
            </a:r>
            <a:endParaRPr lang="tr-TR" sz="1000" kern="1200" dirty="0">
              <a:solidFill>
                <a:schemeClr val="tx1"/>
              </a:solidFill>
            </a:endParaRP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390FA93D-E6D0-3A76-97F0-C97D294F5C92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766888" y="3368675"/>
            <a:ext cx="7667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630AF04-3510-4E3B-864F-881ADF1BF4CF}" type="datetime'''Ö''''''r''''me'''' ''k''u''m''''''aşla''''''''r'''''">
              <a:rPr lang="tr-TR" altLang="en-US" sz="1000" b="1" kern="1200" smtClean="0">
                <a:solidFill>
                  <a:schemeClr val="tx1"/>
                </a:solidFill>
              </a:rPr>
              <a:pPr/>
              <a:t>Örme kumaş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8224AE6-2787-F845-69F1-61F3CC008D29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250190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sz="1000" b="1" kern="1200" smtClean="0">
                <a:solidFill>
                  <a:schemeClr val="tx1"/>
                </a:solidFill>
              </a:rPr>
              <a:pPr/>
              <a:t>2012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CACBCF31-184D-4DBF-DAAA-5DD02A631FD6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954213" y="3571875"/>
            <a:ext cx="5794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507D8AB-2B89-491C-A756-0C09444FCF12}" type="datetime'''Ö''''''''rme'''''''''' ''''''''''g''''''''i''yi''m'''''''">
              <a:rPr lang="tr-TR" altLang="en-US" sz="1000" b="1" kern="1200" smtClean="0">
                <a:solidFill>
                  <a:schemeClr val="tx1"/>
                </a:solidFill>
              </a:rPr>
              <a:pPr/>
              <a:t>Örme giyim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E311F8C-E3A5-3D9E-7E92-FC5227B369D4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346075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sz="1000" b="1" kern="1200" smtClean="0">
                <a:solidFill>
                  <a:schemeClr val="tx1"/>
                </a:solidFill>
              </a:rPr>
              <a:pPr/>
              <a:t>2013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A333B803-E0E3-60EE-1475-8B62735C8CD7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497013" y="3775075"/>
            <a:ext cx="10366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806CBCB-5C81-4D14-8C7E-FFD01AAF234C}" type="datetime'Ö''r''''''me'''' ol''ma''''''y''an ''g''i''''''''''y''''im'''">
              <a:rPr lang="tr-TR" altLang="en-US" sz="1000" b="1" kern="1200" smtClean="0">
                <a:solidFill>
                  <a:schemeClr val="tx1"/>
                </a:solidFill>
              </a:rPr>
              <a:pPr/>
              <a:t>Örme olmayan giyim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DFF94C92-4B72-BC1A-9C5A-C02472A33964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1239838" y="4206875"/>
            <a:ext cx="12938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2E21612-40ED-494E-8F66-5F8AFA192C86}" type="datetime'D''i''ğer haz''''ır tekst''i''''''''l ür''ün''ler''''''''i'">
              <a:rPr lang="tr-TR" altLang="en-US" sz="1000" b="1" kern="1200" smtClean="0">
                <a:solidFill>
                  <a:schemeClr val="tx1"/>
                </a:solidFill>
              </a:rPr>
              <a:pPr/>
              <a:t>Diğer hazır tekstil ürün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4AFBBEB-2D11-FA4B-AF0D-38B01D71EA3C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4419600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sz="1000" b="1" kern="1200" smtClean="0">
                <a:solidFill>
                  <a:schemeClr val="tx1"/>
                </a:solidFill>
              </a:rPr>
              <a:pPr/>
              <a:t>2014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624" name="Rectangle 623">
            <a:extLst>
              <a:ext uri="{FF2B5EF4-FFF2-40B4-BE49-F238E27FC236}">
                <a16:creationId xmlns:a16="http://schemas.microsoft.com/office/drawing/2014/main" id="{285215C4-3589-DCCF-9FE0-EB79E8B52E2D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2122488" y="4675188"/>
            <a:ext cx="4111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08C62C1-D693-4B9E-B9E1-CE19A8A9B600}" type="datetime'''B''''''''''''a''ş''''lı''k''l''''''''''a''''r'''''''''">
              <a:rPr lang="tr-TR" altLang="en-US" sz="1000" b="1" kern="1200" smtClean="0">
                <a:solidFill>
                  <a:schemeClr val="tx1"/>
                </a:solidFill>
              </a:rPr>
              <a:pPr/>
              <a:t>Başlık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29AAF07-152F-7677-9DEF-FFE306F5322D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538003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sz="1000" b="1" kern="1200" smtClean="0">
                <a:solidFill>
                  <a:schemeClr val="tx1"/>
                </a:solidFill>
              </a:rPr>
              <a:pPr/>
              <a:t>2015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628" name="Rectangle 627">
            <a:extLst>
              <a:ext uri="{FF2B5EF4-FFF2-40B4-BE49-F238E27FC236}">
                <a16:creationId xmlns:a16="http://schemas.microsoft.com/office/drawing/2014/main" id="{C2BD9A87-115F-55C1-2A98-E8BF870CEE5E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346199" y="4878388"/>
            <a:ext cx="118745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F7F24B3-7F07-4FEB-A555-3A98B5272CA6}" type="datetime'Şem''''''''''si''''ye''ler'' v''e ''''bast''''on''''''lar'''">
              <a:rPr lang="tr-TR" altLang="en-US" sz="1000" b="1" kern="1200" smtClean="0">
                <a:solidFill>
                  <a:schemeClr val="tx1"/>
                </a:solidFill>
              </a:rPr>
              <a:pPr/>
              <a:t>Şemsiyeler ve baston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633" name="Rectangle 632">
            <a:extLst>
              <a:ext uri="{FF2B5EF4-FFF2-40B4-BE49-F238E27FC236}">
                <a16:creationId xmlns:a16="http://schemas.microsoft.com/office/drawing/2014/main" id="{773635F3-4154-545A-7879-214A6102A224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1528763" y="5081588"/>
            <a:ext cx="10048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D6701FB-0544-4837-941A-C4620D66FD28}" type="datetime'Tü''yle''r ''v''''e'''''''' k''''''''uş ''''t''ü''y''l''er''i'">
              <a:rPr lang="tr-TR" altLang="en-US" sz="1000" b="1" kern="1200" smtClean="0">
                <a:solidFill>
                  <a:schemeClr val="tx1"/>
                </a:solidFill>
              </a:rPr>
              <a:pPr/>
              <a:t>Tüyler ve kuş tüy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A2C4B20-8AEE-D890-95DF-E2ECFF238869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729773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sz="1000" b="1" kern="1200" smtClean="0">
                <a:solidFill>
                  <a:schemeClr val="tx1"/>
                </a:solidFill>
              </a:rPr>
              <a:pPr/>
              <a:t>2017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0665581F-4383-C3F0-7708-47F9853A78D1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1958975" y="4471988"/>
            <a:ext cx="57467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8A0B348-9E22-4C81-8FCC-0440CAD8B92D}" type="datetime'''''A''''''''''y''a''''''''''''k''k''''''''a''b''ıl''a''r'''''">
              <a:rPr lang="tr-TR" altLang="en-US" sz="1000" b="1" kern="1200" smtClean="0">
                <a:solidFill>
                  <a:schemeClr val="tx1"/>
                </a:solidFill>
              </a:rPr>
              <a:pPr/>
              <a:t>Ayakkabı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639" name="Rectangle 638">
            <a:extLst>
              <a:ext uri="{FF2B5EF4-FFF2-40B4-BE49-F238E27FC236}">
                <a16:creationId xmlns:a16="http://schemas.microsoft.com/office/drawing/2014/main" id="{D998F003-8B31-0522-B868-4C501C7AC787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2252663" y="5784850"/>
            <a:ext cx="2809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9EDFD99-91F5-4349-846E-E76DFE6C3522}" type="datetime'''Sa''''''n''''''''''''''''''''''''''''''''''''a''t'''''">
              <a:rPr lang="tr-TR" altLang="en-US" sz="1000" b="1" kern="1200" smtClean="0">
                <a:solidFill>
                  <a:schemeClr val="tx1"/>
                </a:solidFill>
              </a:rPr>
              <a:pPr/>
              <a:t>Sanat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3A28BCE-8B97-435C-0364-85F392788710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8256588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sz="1000" b="1" kern="1200" smtClean="0">
                <a:solidFill>
                  <a:schemeClr val="tx1"/>
                </a:solidFill>
              </a:rPr>
              <a:pPr/>
              <a:t>2018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866" name="Rectangle 865">
            <a:extLst>
              <a:ext uri="{FF2B5EF4-FFF2-40B4-BE49-F238E27FC236}">
                <a16:creationId xmlns:a16="http://schemas.microsoft.com/office/drawing/2014/main" id="{A0B994D9-7A59-9B6E-96F0-FF5853CD7A53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2320925" y="1336675"/>
            <a:ext cx="2127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7065F25-4A8C-4496-A4DC-B8ECDC4780C6}" type="datetime'''''İ''''''''p''''''''''''''''''''e''''''''''''k'''''''">
              <a:rPr lang="tr-TR" altLang="en-US" sz="1000" b="1" kern="1200" smtClean="0">
                <a:solidFill>
                  <a:schemeClr val="tx1"/>
                </a:solidFill>
              </a:rPr>
              <a:pPr/>
              <a:t>İpek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C6D26A7F-2787-23DB-EC3E-1E0D4FCE0826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921702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sz="1000" b="1" kern="1200" smtClean="0">
                <a:solidFill>
                  <a:schemeClr val="tx1"/>
                </a:solidFill>
              </a:rPr>
              <a:pPr/>
              <a:t>2019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DA88F05-1220-203A-A43F-825E263BF049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10175875" y="6005513"/>
            <a:ext cx="26670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sz="1000" b="1" kern="1200" smtClean="0">
                <a:solidFill>
                  <a:schemeClr val="tx1"/>
                </a:solidFill>
              </a:rPr>
              <a:pPr/>
              <a:t>2020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63F9F556-395C-D157-5669-8F1486B622F0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2130425" y="5353050"/>
            <a:ext cx="4032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1FDC3E0-73E8-4E91-B009-BC95A798E6F5}" type="datetime'''''''''Mo''''''''''''b''''''''''i''''''''''''''l''''ya'">
              <a:rPr lang="tr-TR" altLang="en-US" sz="1000" b="1" kern="1200" smtClean="0">
                <a:solidFill>
                  <a:schemeClr val="tx1"/>
                </a:solidFill>
              </a:rPr>
              <a:pPr/>
              <a:t>Mobilya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E8265490-3C76-8C73-2AA2-C819E7CC8C2D}"/>
              </a:ext>
            </a:extLst>
          </p:cNvPr>
          <p:cNvSpPr/>
          <p:nvPr/>
        </p:nvSpPr>
        <p:spPr>
          <a:xfrm>
            <a:off x="6764257" y="1603823"/>
            <a:ext cx="5977143" cy="212393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 err="1">
                <a:solidFill>
                  <a:schemeClr val="tx1"/>
                </a:solidFill>
              </a:rPr>
              <a:t>Treemap</a:t>
            </a:r>
            <a:r>
              <a:rPr lang="tr-TR" sz="1800" b="1" dirty="0">
                <a:solidFill>
                  <a:schemeClr val="tx1"/>
                </a:solidFill>
              </a:rPr>
              <a:t>!!!!</a:t>
            </a: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Resm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renkler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kullanalım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Kaynakça</a:t>
            </a:r>
            <a:r>
              <a:rPr lang="en-US" sz="1400" b="1" dirty="0">
                <a:solidFill>
                  <a:schemeClr val="tx1"/>
                </a:solidFill>
              </a:rPr>
              <a:t> yok</a:t>
            </a: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Başlıkta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yıllar</a:t>
            </a:r>
            <a:r>
              <a:rPr lang="en-US" sz="1400" b="1" dirty="0">
                <a:solidFill>
                  <a:schemeClr val="tx1"/>
                </a:solidFill>
              </a:rPr>
              <a:t> yok</a:t>
            </a:r>
          </a:p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5" name="Dikdörtgen 4">
            <a:extLst>
              <a:ext uri="{FF2B5EF4-FFF2-40B4-BE49-F238E27FC236}">
                <a16:creationId xmlns:a16="http://schemas.microsoft.com/office/drawing/2014/main" id="{9C39F9B0-60D0-55F2-2BD5-04FF81FC8CB6}"/>
              </a:ext>
            </a:extLst>
          </p:cNvPr>
          <p:cNvSpPr/>
          <p:nvPr/>
        </p:nvSpPr>
        <p:spPr>
          <a:xfrm>
            <a:off x="-941326" y="4246143"/>
            <a:ext cx="5977143" cy="212393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Burada artık bir metoda başvurman gerekiyor. Dünya trendi ile bizim ihracat trendimiz benzer mi diye test edebilirsin. </a:t>
            </a:r>
            <a:r>
              <a:rPr lang="tr-TR" sz="1800" b="1" dirty="0" err="1">
                <a:solidFill>
                  <a:schemeClr val="tx1"/>
                </a:solidFill>
              </a:rPr>
              <a:t>Trade</a:t>
            </a:r>
            <a:r>
              <a:rPr lang="tr-TR" sz="1800" b="1" dirty="0">
                <a:solidFill>
                  <a:schemeClr val="tx1"/>
                </a:solidFill>
              </a:rPr>
              <a:t> </a:t>
            </a:r>
            <a:r>
              <a:rPr lang="tr-TR" sz="1800" b="1" dirty="0" err="1">
                <a:solidFill>
                  <a:schemeClr val="tx1"/>
                </a:solidFill>
              </a:rPr>
              <a:t>Complementarity</a:t>
            </a:r>
            <a:r>
              <a:rPr lang="tr-TR" sz="1800" b="1" dirty="0">
                <a:solidFill>
                  <a:schemeClr val="tx1"/>
                </a:solidFill>
              </a:rPr>
              <a:t> Index!!!!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1080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E9E735-A4FF-9929-F61C-F45CF66889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553AD8-AA4E-6DB2-2243-C3D536357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2573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553AD8-AA4E-6DB2-2243-C3D536357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753F0A-A985-CA66-EF90-BFFB54886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Eklenen yeni ürünlerin (2012’de ve 2017’de) Türkiye’deki ihracatta RCA hesabı</a:t>
            </a:r>
          </a:p>
        </p:txBody>
      </p:sp>
      <p:graphicFrame>
        <p:nvGraphicFramePr>
          <p:cNvPr id="83" name="Chart 82">
            <a:extLst>
              <a:ext uri="{FF2B5EF4-FFF2-40B4-BE49-F238E27FC236}">
                <a16:creationId xmlns:a16="http://schemas.microsoft.com/office/drawing/2014/main" id="{EFB55B86-550C-BC86-3E3B-BBE7E87D6A6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8723895"/>
              </p:ext>
            </p:extLst>
          </p:nvPr>
        </p:nvGraphicFramePr>
        <p:xfrm>
          <a:off x="331788" y="1181100"/>
          <a:ext cx="11388725" cy="515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73" name="Arrow: Right 72">
            <a:extLst>
              <a:ext uri="{FF2B5EF4-FFF2-40B4-BE49-F238E27FC236}">
                <a16:creationId xmlns:a16="http://schemas.microsoft.com/office/drawing/2014/main" id="{7FD9CFA5-CA98-291D-CF0B-93131508C21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39738" y="29686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795D682C-293E-CB18-048A-D9D302DDC66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619125" y="3044825"/>
            <a:ext cx="106489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86B944E8-FC56-59FC-4B5A-F4D2C497013A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888038" y="6299200"/>
            <a:ext cx="112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b="1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4F560F5-98D0-2796-CE17-32F9269CCC4F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1718925" y="1641475"/>
            <a:ext cx="152400" cy="40163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  <a:effectLst/>
              </a:rPr>
              <a:t>Eklenen yeni ürünlerin (2012’de ve 2017’de) Türkiye’deki ihracatta RCA hesabı</a:t>
            </a:r>
            <a:endParaRPr lang="tr-TR" sz="1000" kern="1200" dirty="0">
              <a:solidFill>
                <a:schemeClr val="tx1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0DA229A7-A920-45EE-157E-FADDE3A0DF9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04776" y="2968625"/>
            <a:ext cx="2841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2E130F4-6066-4527-8360-9C4114DB1559}" type="datetime'''0'''''',''''7''''''''''8''9'''''''''''''''">
              <a:rPr lang="tr-TR" altLang="en-US" sz="1000" b="1" kern="1200" smtClean="0">
                <a:solidFill>
                  <a:schemeClr val="tx1"/>
                </a:solidFill>
              </a:rPr>
              <a:pPr/>
              <a:t>0,789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800B554C-2178-F936-B16F-7F5E3B2AB56F}"/>
              </a:ext>
            </a:extLst>
          </p:cNvPr>
          <p:cNvSpPr/>
          <p:nvPr/>
        </p:nvSpPr>
        <p:spPr>
          <a:xfrm>
            <a:off x="-892165" y="4213369"/>
            <a:ext cx="5977143" cy="212393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RCA hesabı ürün başına yapılır. Tüm ürün grubuna değil.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Kaç üründe </a:t>
            </a:r>
            <a:r>
              <a:rPr lang="tr-TR" sz="1800" b="1" dirty="0" err="1">
                <a:solidFill>
                  <a:schemeClr val="tx1"/>
                </a:solidFill>
              </a:rPr>
              <a:t>türkiye</a:t>
            </a:r>
            <a:r>
              <a:rPr lang="tr-TR" sz="1800" b="1" dirty="0">
                <a:solidFill>
                  <a:schemeClr val="tx1"/>
                </a:solidFill>
              </a:rPr>
              <a:t> rekabetçi bir biçimde ticaret yapıyor?</a:t>
            </a: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Resm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renkler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kullanalım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Kaynakça</a:t>
            </a:r>
            <a:r>
              <a:rPr lang="en-US" sz="1400" b="1" dirty="0">
                <a:solidFill>
                  <a:schemeClr val="tx1"/>
                </a:solidFill>
              </a:rPr>
              <a:t> yok</a:t>
            </a: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Başlıkta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yıllar</a:t>
            </a:r>
            <a:r>
              <a:rPr lang="en-US" sz="1400" b="1" dirty="0">
                <a:solidFill>
                  <a:schemeClr val="tx1"/>
                </a:solidFill>
              </a:rPr>
              <a:t> yok</a:t>
            </a:r>
          </a:p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9669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A3108728-1560-9617-D5FC-BB9B5959D56E}"/>
              </a:ext>
            </a:extLst>
          </p:cNvPr>
          <p:cNvGrpSpPr/>
          <p:nvPr/>
        </p:nvGrpSpPr>
        <p:grpSpPr>
          <a:xfrm>
            <a:off x="685800" y="1527308"/>
            <a:ext cx="3516630" cy="385618"/>
            <a:chOff x="685800" y="1527308"/>
            <a:chExt cx="3516630" cy="385618"/>
          </a:xfrm>
        </p:grpSpPr>
        <p:sp>
          <p:nvSpPr>
            <p:cNvPr id="44" name="Google Shape;44;p2"/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79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tr-TR" sz="1400" dirty="0">
                  <a:solidFill>
                    <a:srgbClr val="132052"/>
                  </a:solidFill>
                  <a:latin typeface="+mj-lt"/>
                  <a:ea typeface="Arial"/>
                  <a:cs typeface="Arial"/>
                  <a:sym typeface="Arial"/>
                </a:rPr>
                <a:t>C</a:t>
              </a:r>
              <a:endParaRPr sz="1400" dirty="0">
                <a:solidFill>
                  <a:srgbClr val="132052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5" name="Google Shape;45;p2"/>
            <p:cNvCxnSpPr/>
            <p:nvPr/>
          </p:nvCxnSpPr>
          <p:spPr>
            <a:xfrm>
              <a:off x="685800" y="1901355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52" name="Google Shape;52;p2"/>
          <p:cNvSpPr/>
          <p:nvPr/>
        </p:nvSpPr>
        <p:spPr>
          <a:xfrm>
            <a:off x="4436135" y="0"/>
            <a:ext cx="8575452" cy="6858000"/>
          </a:xfrm>
          <a:custGeom>
            <a:avLst/>
            <a:gdLst/>
            <a:ahLst/>
            <a:cxnLst/>
            <a:rect l="l" t="t" r="r" b="b"/>
            <a:pathLst>
              <a:path w="12863178" h="11049171" extrusionOk="0">
                <a:moveTo>
                  <a:pt x="0" y="0"/>
                </a:moveTo>
                <a:lnTo>
                  <a:pt x="12863178" y="0"/>
                </a:lnTo>
                <a:lnTo>
                  <a:pt x="12863178" y="11049171"/>
                </a:lnTo>
                <a:lnTo>
                  <a:pt x="0" y="11049171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34985" r="-18055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E1F285-0F1E-AD2A-69B0-6397C3F91873}"/>
              </a:ext>
            </a:extLst>
          </p:cNvPr>
          <p:cNvGrpSpPr/>
          <p:nvPr/>
        </p:nvGrpSpPr>
        <p:grpSpPr>
          <a:xfrm>
            <a:off x="685800" y="2278145"/>
            <a:ext cx="3516630" cy="385618"/>
            <a:chOff x="685800" y="1527308"/>
            <a:chExt cx="3516630" cy="385618"/>
          </a:xfrm>
        </p:grpSpPr>
        <p:sp>
          <p:nvSpPr>
            <p:cNvPr id="4" name="Google Shape;44;p2">
              <a:extLst>
                <a:ext uri="{FF2B5EF4-FFF2-40B4-BE49-F238E27FC236}">
                  <a16:creationId xmlns:a16="http://schemas.microsoft.com/office/drawing/2014/main" id="{32E6913F-B29A-099E-A738-7ED96DCE72A9}"/>
                </a:ext>
              </a:extLst>
            </p:cNvPr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lnSpc>
                  <a:spcPct val="179000"/>
                </a:lnSpc>
              </a:pPr>
              <a:r>
                <a:rPr lang="tr-TR" dirty="0">
                  <a:solidFill>
                    <a:srgbClr val="132052"/>
                  </a:solidFill>
                  <a:latin typeface="+mj-lt"/>
                </a:rPr>
                <a:t>B</a:t>
              </a:r>
              <a:endParaRPr lang="tr-TR" dirty="0"/>
            </a:p>
          </p:txBody>
        </p:sp>
        <p:cxnSp>
          <p:nvCxnSpPr>
            <p:cNvPr id="5" name="Google Shape;45;p2">
              <a:extLst>
                <a:ext uri="{FF2B5EF4-FFF2-40B4-BE49-F238E27FC236}">
                  <a16:creationId xmlns:a16="http://schemas.microsoft.com/office/drawing/2014/main" id="{8A1E259C-97B0-A76C-48F2-A9BB56D64BEC}"/>
                </a:ext>
              </a:extLst>
            </p:cNvPr>
            <p:cNvCxnSpPr/>
            <p:nvPr/>
          </p:nvCxnSpPr>
          <p:spPr>
            <a:xfrm>
              <a:off x="685800" y="1901355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02C7B03-4FAF-1E16-0CA3-25F0785C3FC8}"/>
              </a:ext>
            </a:extLst>
          </p:cNvPr>
          <p:cNvGrpSpPr/>
          <p:nvPr/>
        </p:nvGrpSpPr>
        <p:grpSpPr>
          <a:xfrm>
            <a:off x="685800" y="3028982"/>
            <a:ext cx="3516630" cy="385618"/>
            <a:chOff x="685800" y="1527308"/>
            <a:chExt cx="3516630" cy="385618"/>
          </a:xfrm>
        </p:grpSpPr>
        <p:sp>
          <p:nvSpPr>
            <p:cNvPr id="7" name="Google Shape;44;p2">
              <a:extLst>
                <a:ext uri="{FF2B5EF4-FFF2-40B4-BE49-F238E27FC236}">
                  <a16:creationId xmlns:a16="http://schemas.microsoft.com/office/drawing/2014/main" id="{896D15E7-BB90-4A37-3DF5-B74860808388}"/>
                </a:ext>
              </a:extLst>
            </p:cNvPr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lnSpc>
                  <a:spcPct val="179000"/>
                </a:lnSpc>
              </a:pPr>
              <a:r>
                <a:rPr lang="tr-TR" dirty="0">
                  <a:solidFill>
                    <a:srgbClr val="132052"/>
                  </a:solidFill>
                  <a:latin typeface="+mj-lt"/>
                </a:rPr>
                <a:t>B</a:t>
              </a:r>
              <a:endParaRPr lang="tr-TR" dirty="0"/>
            </a:p>
          </p:txBody>
        </p:sp>
        <p:cxnSp>
          <p:nvCxnSpPr>
            <p:cNvPr id="8" name="Google Shape;45;p2">
              <a:extLst>
                <a:ext uri="{FF2B5EF4-FFF2-40B4-BE49-F238E27FC236}">
                  <a16:creationId xmlns:a16="http://schemas.microsoft.com/office/drawing/2014/main" id="{7F9399E4-A257-3D77-F235-4E5681D1B42B}"/>
                </a:ext>
              </a:extLst>
            </p:cNvPr>
            <p:cNvCxnSpPr/>
            <p:nvPr/>
          </p:nvCxnSpPr>
          <p:spPr>
            <a:xfrm>
              <a:off x="685800" y="1901355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88E72CAF-7ACF-B8A3-E95B-09033262E177}"/>
              </a:ext>
            </a:extLst>
          </p:cNvPr>
          <p:cNvGrpSpPr/>
          <p:nvPr/>
        </p:nvGrpSpPr>
        <p:grpSpPr>
          <a:xfrm>
            <a:off x="685800" y="3661066"/>
            <a:ext cx="3516630" cy="720411"/>
            <a:chOff x="685800" y="1527308"/>
            <a:chExt cx="3516630" cy="720411"/>
          </a:xfrm>
        </p:grpSpPr>
        <p:sp>
          <p:nvSpPr>
            <p:cNvPr id="10" name="Google Shape;44;p2">
              <a:extLst>
                <a:ext uri="{FF2B5EF4-FFF2-40B4-BE49-F238E27FC236}">
                  <a16:creationId xmlns:a16="http://schemas.microsoft.com/office/drawing/2014/main" id="{2D3A8575-5F7F-F089-2FC2-9114FEA0A98B}"/>
                </a:ext>
              </a:extLst>
            </p:cNvPr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lnSpc>
                  <a:spcPct val="179000"/>
                </a:lnSpc>
              </a:pPr>
              <a:r>
                <a:rPr lang="tr-TR" dirty="0">
                  <a:solidFill>
                    <a:srgbClr val="132052"/>
                  </a:solidFill>
                  <a:latin typeface="+mj-lt"/>
                </a:rPr>
                <a:t>A</a:t>
              </a:r>
              <a:endParaRPr lang="tr-TR" dirty="0"/>
            </a:p>
          </p:txBody>
        </p:sp>
        <p:cxnSp>
          <p:nvCxnSpPr>
            <p:cNvPr id="11" name="Google Shape;45;p2">
              <a:extLst>
                <a:ext uri="{FF2B5EF4-FFF2-40B4-BE49-F238E27FC236}">
                  <a16:creationId xmlns:a16="http://schemas.microsoft.com/office/drawing/2014/main" id="{3001EE8E-F5BE-231D-6EA6-DB7BBDB86855}"/>
                </a:ext>
              </a:extLst>
            </p:cNvPr>
            <p:cNvCxnSpPr/>
            <p:nvPr/>
          </p:nvCxnSpPr>
          <p:spPr>
            <a:xfrm>
              <a:off x="685800" y="2247719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" name="Group 8">
            <a:extLst>
              <a:ext uri="{FF2B5EF4-FFF2-40B4-BE49-F238E27FC236}">
                <a16:creationId xmlns:a16="http://schemas.microsoft.com/office/drawing/2014/main" id="{6976BC80-68D3-633D-41E2-04C7BC09A752}"/>
              </a:ext>
            </a:extLst>
          </p:cNvPr>
          <p:cNvGrpSpPr/>
          <p:nvPr/>
        </p:nvGrpSpPr>
        <p:grpSpPr>
          <a:xfrm>
            <a:off x="685800" y="4630884"/>
            <a:ext cx="3516630" cy="385618"/>
            <a:chOff x="685800" y="1527308"/>
            <a:chExt cx="3516630" cy="385618"/>
          </a:xfrm>
        </p:grpSpPr>
        <p:sp>
          <p:nvSpPr>
            <p:cNvPr id="13" name="Google Shape;44;p2">
              <a:extLst>
                <a:ext uri="{FF2B5EF4-FFF2-40B4-BE49-F238E27FC236}">
                  <a16:creationId xmlns:a16="http://schemas.microsoft.com/office/drawing/2014/main" id="{993E1443-C725-EB95-2DC0-BCE39F75E2CC}"/>
                </a:ext>
              </a:extLst>
            </p:cNvPr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lnSpc>
                  <a:spcPct val="179000"/>
                </a:lnSpc>
              </a:pPr>
              <a:r>
                <a:rPr lang="tr-TR" dirty="0">
                  <a:solidFill>
                    <a:srgbClr val="132052"/>
                  </a:solidFill>
                  <a:latin typeface="+mj-lt"/>
                </a:rPr>
                <a:t>H</a:t>
              </a:r>
              <a:endParaRPr lang="tr-TR" dirty="0"/>
            </a:p>
          </p:txBody>
        </p:sp>
        <p:cxnSp>
          <p:nvCxnSpPr>
            <p:cNvPr id="14" name="Google Shape;45;p2">
              <a:extLst>
                <a:ext uri="{FF2B5EF4-FFF2-40B4-BE49-F238E27FC236}">
                  <a16:creationId xmlns:a16="http://schemas.microsoft.com/office/drawing/2014/main" id="{07E268E6-6494-F45A-1D6D-A571D74A286C}"/>
                </a:ext>
              </a:extLst>
            </p:cNvPr>
            <p:cNvCxnSpPr>
              <a:cxnSpLocks/>
            </p:cNvCxnSpPr>
            <p:nvPr/>
          </p:nvCxnSpPr>
          <p:spPr>
            <a:xfrm>
              <a:off x="685800" y="1901355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5" name="Dikdörtgen 14">
            <a:extLst>
              <a:ext uri="{FF2B5EF4-FFF2-40B4-BE49-F238E27FC236}">
                <a16:creationId xmlns:a16="http://schemas.microsoft.com/office/drawing/2014/main" id="{46AFFBB4-2BA1-E17C-6D00-D224B0D5DFCF}"/>
              </a:ext>
            </a:extLst>
          </p:cNvPr>
          <p:cNvSpPr/>
          <p:nvPr/>
        </p:nvSpPr>
        <p:spPr>
          <a:xfrm>
            <a:off x="7740445" y="384073"/>
            <a:ext cx="2595716" cy="1676440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 err="1">
                <a:solidFill>
                  <a:schemeClr val="tx1"/>
                </a:solidFill>
              </a:rPr>
              <a:t>Out</a:t>
            </a:r>
            <a:r>
              <a:rPr lang="tr-TR" sz="1800" b="1" dirty="0">
                <a:solidFill>
                  <a:schemeClr val="tx1"/>
                </a:solidFill>
              </a:rPr>
              <a:t> of </a:t>
            </a:r>
            <a:r>
              <a:rPr lang="tr-TR" sz="1800" b="1" dirty="0" err="1">
                <a:solidFill>
                  <a:schemeClr val="tx1"/>
                </a:solidFill>
              </a:rPr>
              <a:t>context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415DCF5-AD3E-9129-0AD1-8D6B3A178FAD}"/>
              </a:ext>
            </a:extLst>
          </p:cNvPr>
          <p:cNvSpPr/>
          <p:nvPr/>
        </p:nvSpPr>
        <p:spPr>
          <a:xfrm>
            <a:off x="8058150" y="2663763"/>
            <a:ext cx="2895600" cy="171771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Halledilir BU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2FCE40-7745-2627-1B27-2A0265281B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D152C22-FAB8-BF64-EC79-37920DE203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2168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152C22-FAB8-BF64-EC79-37920DE203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BF1D637-2ABB-0040-03DF-4E4182CD93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Eklenen yeni ürünlerin (2012’de ve 2017’de) Türkiye’deki ithalatta RCA hesabı</a:t>
            </a:r>
          </a:p>
        </p:txBody>
      </p:sp>
      <p:graphicFrame>
        <p:nvGraphicFramePr>
          <p:cNvPr id="125" name="Chart 124">
            <a:extLst>
              <a:ext uri="{FF2B5EF4-FFF2-40B4-BE49-F238E27FC236}">
                <a16:creationId xmlns:a16="http://schemas.microsoft.com/office/drawing/2014/main" id="{8C66D6D9-5143-2E7F-FBFA-EB559DD4E6C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286831"/>
              </p:ext>
            </p:extLst>
          </p:nvPr>
        </p:nvGraphicFramePr>
        <p:xfrm>
          <a:off x="331788" y="1181100"/>
          <a:ext cx="11388725" cy="515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85" name="Arrow: Right 84">
            <a:extLst>
              <a:ext uri="{FF2B5EF4-FFF2-40B4-BE49-F238E27FC236}">
                <a16:creationId xmlns:a16="http://schemas.microsoft.com/office/drawing/2014/main" id="{901F747F-15ED-DC45-6D3E-CFAE97CF05D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39738" y="272256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95BC2F51-5254-7BFC-1B28-55A208463C7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619125" y="2798763"/>
            <a:ext cx="106489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79B77DBC-9674-3DAA-50D6-276332B2DF3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888038" y="6299200"/>
            <a:ext cx="112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b="1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CB2AE1D-8B61-CF8F-A42E-E55025CAB5E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1718925" y="1655763"/>
            <a:ext cx="152400" cy="39878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  <a:effectLst/>
              </a:rPr>
              <a:t>Eklenen yeni ürünlerin (2012’de ve 2017’de) Türkiye’deki ithalatta RCA hesabı</a:t>
            </a:r>
            <a:endParaRPr lang="tr-TR" sz="1000" kern="1200" dirty="0">
              <a:solidFill>
                <a:schemeClr val="tx1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45806A5C-F324-1FD1-1938-FD3A11B02E2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04775" y="2722563"/>
            <a:ext cx="2841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517AD17-88E4-4D70-9D07-66D7BD1966D8}" type="datetime'''0'''''''''''''''''''''''''''',''''8''''55'''">
              <a:rPr lang="tr-TR" altLang="en-US" sz="1000" b="1" kern="1200" smtClean="0">
                <a:solidFill>
                  <a:schemeClr val="tx1"/>
                </a:solidFill>
              </a:rPr>
              <a:pPr/>
              <a:t>0,855</a:t>
            </a:fld>
            <a:endParaRPr lang="tr-TR" sz="1000" b="1" kern="1200" dirty="0">
              <a:solidFill>
                <a:schemeClr val="tx1"/>
              </a:solidFill>
            </a:endParaRP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80C0A7F3-DF18-DA46-C938-16D74E5C1934}"/>
              </a:ext>
            </a:extLst>
          </p:cNvPr>
          <p:cNvSpPr/>
          <p:nvPr/>
        </p:nvSpPr>
        <p:spPr>
          <a:xfrm>
            <a:off x="-892165" y="4213369"/>
            <a:ext cx="5977143" cy="212393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RCA hesabı ürün başına yapılır. Tüm ürün grubuna değil.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Kaç üründe </a:t>
            </a:r>
            <a:r>
              <a:rPr lang="tr-TR" sz="1800" b="1" dirty="0" err="1">
                <a:solidFill>
                  <a:schemeClr val="tx1"/>
                </a:solidFill>
              </a:rPr>
              <a:t>türkiye</a:t>
            </a:r>
            <a:r>
              <a:rPr lang="tr-TR" sz="1800" b="1" dirty="0">
                <a:solidFill>
                  <a:schemeClr val="tx1"/>
                </a:solidFill>
              </a:rPr>
              <a:t> rekabetçi bir biçimde ticaret yapıyor?</a:t>
            </a: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Resm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renkler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kullanalım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Kaynakça</a:t>
            </a:r>
            <a:r>
              <a:rPr lang="en-US" sz="1400" b="1" dirty="0">
                <a:solidFill>
                  <a:schemeClr val="tx1"/>
                </a:solidFill>
              </a:rPr>
              <a:t> yok</a:t>
            </a: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Başlıkta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yıllar</a:t>
            </a:r>
            <a:r>
              <a:rPr lang="en-US" sz="1400" b="1" dirty="0">
                <a:solidFill>
                  <a:schemeClr val="tx1"/>
                </a:solidFill>
              </a:rPr>
              <a:t> yok</a:t>
            </a:r>
          </a:p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6031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0E6979-098B-A7F3-F577-120D7A487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E30A948-A7C3-789C-8905-7D039E9F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246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25" imgH="426" progId="TCLayout.ActiveDocument.1">
                  <p:embed/>
                </p:oleObj>
              </mc:Choice>
              <mc:Fallback>
                <p:oleObj name="think-cell Slide" r:id="rId27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30A948-A7C3-789C-8905-7D039E9F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EA1EF1-0EB0-6707-310F-BB9E06DD3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Eklenen yeni ürünlerin (2012’de ve 2017’de) Türkiye'nin tekstil ihracatındaki 2 basamaklı HS kodlarının RCA hesabı</a:t>
            </a:r>
          </a:p>
        </p:txBody>
      </p:sp>
      <p:graphicFrame>
        <p:nvGraphicFramePr>
          <p:cNvPr id="383" name="Chart 382">
            <a:extLst>
              <a:ext uri="{FF2B5EF4-FFF2-40B4-BE49-F238E27FC236}">
                <a16:creationId xmlns:a16="http://schemas.microsoft.com/office/drawing/2014/main" id="{D0C339E8-440F-4BD3-B3F4-14307B5CA6A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223982"/>
              </p:ext>
            </p:extLst>
          </p:nvPr>
        </p:nvGraphicFramePr>
        <p:xfrm>
          <a:off x="1573213" y="1203325"/>
          <a:ext cx="10053637" cy="515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A83C40B-E057-6F70-EDAF-1AEDCE2F1A06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784350" y="4257675"/>
            <a:ext cx="42863" cy="420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9CAE1CFA-9C1D-4C41-4D0B-CB74A1CFABF8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784350" y="5680075"/>
            <a:ext cx="42863" cy="1730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3" name="Straight Connector 332">
            <a:extLst>
              <a:ext uri="{FF2B5EF4-FFF2-40B4-BE49-F238E27FC236}">
                <a16:creationId xmlns:a16="http://schemas.microsoft.com/office/drawing/2014/main" id="{DE50FF29-D2FA-13DF-FDA3-50613F417B7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784350" y="5476875"/>
            <a:ext cx="5226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69C3CA3E-A278-4851-69C2-474CF7B2C2E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010400" y="5476875"/>
            <a:ext cx="42863" cy="2000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71FC12C8-876A-6004-7DF1-BF29703FA58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784350" y="5273675"/>
            <a:ext cx="5226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17F0DA1F-C41C-C00B-AB85-006C7015A66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7010400" y="5116513"/>
            <a:ext cx="42863" cy="15716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ED168E8C-EDF2-A441-B244-8D717612906A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784350" y="4460875"/>
            <a:ext cx="5226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CFE5E9D5-7E7A-9AEC-6B9E-88228537449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7010400" y="4460875"/>
            <a:ext cx="42863" cy="3651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AF937503-5811-0E5A-8149-E248E87D2CBC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784350" y="4664075"/>
            <a:ext cx="42863" cy="2555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A95EA05B-CAD0-F329-36AB-3706958A4012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784350" y="4867275"/>
            <a:ext cx="5226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069344CA-BDAC-F6FF-9850-7F53095FA1D4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010400" y="4867275"/>
            <a:ext cx="42863" cy="195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6BC2AD9C-54A5-24E3-468C-65081EB56E1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508750" y="6321425"/>
            <a:ext cx="112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b="1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691BF75-94F7-DBA9-0483-F51A750212D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1625263" y="1316038"/>
            <a:ext cx="152400" cy="47132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  <a:effectLst/>
              </a:rPr>
              <a:t>Eklenen yeni ürünlerin Türkiye'nin tekstil ihracatındaki 2 basamaklı HS kodlarının RCA hesabı</a:t>
            </a:r>
            <a:endParaRPr lang="tr-TR" sz="1000" kern="1200" dirty="0">
              <a:solidFill>
                <a:schemeClr val="tx1"/>
              </a:solidFill>
            </a:endParaRP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A0F4E7A1-275A-9C18-6ECB-1B3FD952B781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439863" y="2254250"/>
            <a:ext cx="3190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BFEF246-68F7-42DE-9D1D-B006446BDB7C}" type="datetime'''''Ha''l''''''''''''''ıl''''''''a''''''''''r'''">
              <a:rPr lang="tr-TR" altLang="en-US" sz="1000" b="1" kern="1200" smtClean="0">
                <a:solidFill>
                  <a:schemeClr val="bg2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Halıla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52E4FCC2-CCC8-F1A5-575A-D2942D415FA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92188" y="4384675"/>
            <a:ext cx="7667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61B660C-309A-4A43-B72A-56E6FA3F76DD}" type="datetime'''''Örm''''''e'''' ''''''''''''''''''''kum''''''a''''''ş''lar'">
              <a:rPr lang="tr-TR" altLang="en-US" sz="1000" b="1" kern="1200" smtClean="0">
                <a:solidFill>
                  <a:schemeClr val="tx1"/>
                </a:solidFill>
              </a:rPr>
              <a:pPr/>
              <a:t>Örme kumaş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CDDC5BDE-4F49-D3CD-8574-657012A0C2C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20713" y="4181475"/>
            <a:ext cx="11382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2B23E9C-720C-431E-8320-FEBFE0284F91}" type="datetime'''Öz''''''''el d''''''o''''ku''''''''''ma kuma''ş''l''''ar'">
              <a:rPr lang="tr-TR" altLang="en-US" sz="1000" b="1" kern="1200" smtClean="0">
                <a:solidFill>
                  <a:schemeClr val="bg2"/>
                </a:solidFill>
              </a:rPr>
              <a:pPr/>
              <a:t>Özel dokuma kumaşla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A326A63-44FA-07F6-0D0E-889B68FC46EC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65138" y="4587875"/>
            <a:ext cx="12938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9DEE2F4-0F2D-4C44-89A8-9FBFDD6B9B73}" type="datetime'Diğer'''' ''ha''''z''ır t''ek''''stil ü''rünle''r''''''''i'">
              <a:rPr lang="tr-TR" altLang="en-US" sz="1000" b="1" kern="1200" smtClean="0">
                <a:solidFill>
                  <a:schemeClr val="bg2"/>
                </a:solidFill>
              </a:rPr>
              <a:pPr/>
              <a:t>Diğer hazır tekstil ürünleri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55247868-33D3-5015-7559-51269CD2E3B4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184275" y="5603875"/>
            <a:ext cx="57467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150BDE3-95EC-47AF-BF6E-92AD5F1DBBE4}" type="datetime'''''''''''Ay''''a''''''kk''a''''''''b''''''ıl''''a''''r'''''''">
              <a:rPr lang="tr-TR" altLang="en-US" sz="1000" b="1" kern="1200" smtClean="0">
                <a:solidFill>
                  <a:schemeClr val="bg2"/>
                </a:solidFill>
              </a:rPr>
              <a:pPr/>
              <a:t>Ayakkabıla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8FFCEC06-A613-5BF7-535A-5CDCAE829711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347788" y="5807075"/>
            <a:ext cx="4111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76C181E-F2F6-4C55-9DC8-829317FA615A}" type="datetime'''B''''''''''aşl''''''ık''''''''la''''''''''''r'">
              <a:rPr lang="tr-TR" altLang="en-US" sz="1000" b="1" kern="1200" smtClean="0">
                <a:solidFill>
                  <a:schemeClr val="bg2"/>
                </a:solidFill>
              </a:rPr>
              <a:pPr/>
              <a:t>Başlıkla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CF6BF351-FED1-84DC-F3AE-B8C40A8DEEC3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355725" y="5400675"/>
            <a:ext cx="4032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04A3F06-890C-49A0-BDD1-CF13B8D8B81D}" type="datetime'M''''''''''''''''o''bi''''''''''''''''''''''''l''''ya'''''''">
              <a:rPr lang="tr-TR" altLang="en-US" sz="1000" b="1" kern="1200" smtClean="0">
                <a:solidFill>
                  <a:schemeClr val="tx1"/>
                </a:solidFill>
              </a:rPr>
              <a:pPr/>
              <a:t>Mobilya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BC608E50-B421-FBB4-4A21-5FF76B9BFE8D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885825" y="5197475"/>
            <a:ext cx="8731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5E9773C-66AD-49E9-A73F-52D714080462}" type="datetime'''Y''a''''''p''''a''y'''''' f''i''la''men''''''''''tl''e''r'''">
              <a:rPr lang="tr-TR" altLang="en-US" sz="1000" b="1" kern="1200" smtClean="0">
                <a:solidFill>
                  <a:schemeClr val="bg2"/>
                </a:solidFill>
              </a:rPr>
              <a:pPr/>
              <a:t>Yapay filamentle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7CB78E65-5007-DCCC-F450-0DEAA55AD8AB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81063" y="4994275"/>
            <a:ext cx="8778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E950ED0-3BCC-4EBA-BEDF-658229AEB1C2}" type="datetime'''''''''Y''''apay'''' kesi''k''li'' ''li''f''''''''''''le''r'">
              <a:rPr lang="tr-TR" altLang="en-US" sz="1000" b="1" kern="1200" smtClean="0">
                <a:solidFill>
                  <a:schemeClr val="bg2"/>
                </a:solidFill>
              </a:rPr>
              <a:pPr/>
              <a:t>Yapay kesikli lifle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0330D388-6261-D326-B358-C503691122AC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65138" y="4791075"/>
            <a:ext cx="12938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695CC60-F0EC-4CE4-B712-61C1140B542F}" type="datetime'D''''i''''ğ''e''r ''haz''ır te''kst''il ''''ürü''nl''e''''ri'">
              <a:rPr lang="tr-TR" altLang="en-US" sz="1000" b="1" kern="1200" smtClean="0">
                <a:solidFill>
                  <a:schemeClr val="tx1"/>
                </a:solidFill>
              </a:rPr>
              <a:pPr/>
              <a:t>Diğer hazır tekstil ürün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24A6E2AD-280B-3380-D073-252090EFA1CB}"/>
              </a:ext>
            </a:extLst>
          </p:cNvPr>
          <p:cNvSpPr/>
          <p:nvPr/>
        </p:nvSpPr>
        <p:spPr>
          <a:xfrm>
            <a:off x="-892165" y="3805087"/>
            <a:ext cx="5977143" cy="253221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Bu ürün kodlarında başarılı iken başarısız oldukları hangileri? RCA değeri değil </a:t>
            </a:r>
            <a:r>
              <a:rPr lang="tr-TR" sz="1800" b="1" dirty="0" err="1">
                <a:solidFill>
                  <a:schemeClr val="tx1"/>
                </a:solidFill>
              </a:rPr>
              <a:t>RCA’nın</a:t>
            </a:r>
            <a:r>
              <a:rPr lang="tr-TR" sz="1800" b="1" dirty="0">
                <a:solidFill>
                  <a:schemeClr val="tx1"/>
                </a:solidFill>
              </a:rPr>
              <a:t> 1’den büyük olup olmaması önemli. </a:t>
            </a:r>
            <a:r>
              <a:rPr lang="tr-TR" sz="1800" b="1" dirty="0" err="1">
                <a:solidFill>
                  <a:schemeClr val="tx1"/>
                </a:solidFill>
              </a:rPr>
              <a:t>Tektilde</a:t>
            </a:r>
            <a:r>
              <a:rPr lang="tr-TR" sz="1800" b="1" dirty="0">
                <a:solidFill>
                  <a:schemeClr val="tx1"/>
                </a:solidFill>
              </a:rPr>
              <a:t> çok ürün başlığı yok bunları bir kutuyla mı göstersen? 2012’de şunları rekabetçi bir biçimde ihraç ediyorduk 202’de şunları</a:t>
            </a: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Resm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renkler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kullanalım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Kaynakça</a:t>
            </a:r>
            <a:r>
              <a:rPr lang="en-US" sz="1400" b="1" dirty="0">
                <a:solidFill>
                  <a:schemeClr val="tx1"/>
                </a:solidFill>
              </a:rPr>
              <a:t> yok</a:t>
            </a: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Başlıkta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yıllar</a:t>
            </a:r>
            <a:r>
              <a:rPr lang="en-US" sz="1400" b="1" dirty="0">
                <a:solidFill>
                  <a:schemeClr val="tx1"/>
                </a:solidFill>
              </a:rPr>
              <a:t> yok</a:t>
            </a:r>
          </a:p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0518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23EA00-AC58-D252-82F6-C229B67C38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33BC140-418F-7DA9-8923-A9EACFF270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98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25" imgH="426" progId="TCLayout.ActiveDocument.1">
                  <p:embed/>
                </p:oleObj>
              </mc:Choice>
              <mc:Fallback>
                <p:oleObj name="think-cell Slide" r:id="rId27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3BC140-418F-7DA9-8923-A9EACFF27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99E8DA-E5D4-E13F-BE12-797E60032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Eklenen yeni ürünlerin (2012’de ve 2017’de) Türkiye'nin tekstil ithalatındaki 2 basamaklı HS kodlarının RCA hesabı</a:t>
            </a:r>
          </a:p>
        </p:txBody>
      </p:sp>
      <p:graphicFrame>
        <p:nvGraphicFramePr>
          <p:cNvPr id="379" name="Chart 378">
            <a:extLst>
              <a:ext uri="{FF2B5EF4-FFF2-40B4-BE49-F238E27FC236}">
                <a16:creationId xmlns:a16="http://schemas.microsoft.com/office/drawing/2014/main" id="{64037AF6-7640-3F96-8840-815F4DC315D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2195014"/>
              </p:ext>
            </p:extLst>
          </p:nvPr>
        </p:nvGraphicFramePr>
        <p:xfrm>
          <a:off x="1573213" y="1203325"/>
          <a:ext cx="10083800" cy="515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7A41B462-B6AF-441E-A1BD-470C2078748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784350" y="4460875"/>
            <a:ext cx="42863" cy="80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2950C6C0-4874-D073-512C-52C9E82A0E1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784350" y="4867275"/>
            <a:ext cx="42863" cy="4365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45CC32AF-90D8-3E0E-1975-E45F5E6E006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784350" y="4664075"/>
            <a:ext cx="5226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6D7AA887-2B3E-2C3E-AB97-B0680FAC935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010400" y="4664075"/>
            <a:ext cx="42863" cy="2254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D93B24BA-F73D-F784-A859-7EAA53D1BA1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784350" y="5273675"/>
            <a:ext cx="5226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21C74A54-445B-E16D-369C-2DCF62A3573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010400" y="5273675"/>
            <a:ext cx="42863" cy="3619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3" name="Straight Connector 332">
            <a:extLst>
              <a:ext uri="{FF2B5EF4-FFF2-40B4-BE49-F238E27FC236}">
                <a16:creationId xmlns:a16="http://schemas.microsoft.com/office/drawing/2014/main" id="{4F9C7B68-80B7-14C7-D994-8C826C38E36C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784350" y="5883275"/>
            <a:ext cx="5226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E53A29B7-C09B-C9AD-7ADB-B18912065E78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V="1">
            <a:off x="7010400" y="5675314"/>
            <a:ext cx="42863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AF62235D-221B-304F-83E6-CCD5BBF980D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784350" y="5070475"/>
            <a:ext cx="42863" cy="3333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2634B4A1-2170-6656-D5DC-AC94542D29C2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784350" y="5476875"/>
            <a:ext cx="5226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37B1824-93F0-BE4D-6731-9FC8BB4E013E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010400" y="5476875"/>
            <a:ext cx="42863" cy="187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3831796C-F29D-C93F-4713-A6BCFED0159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508750" y="6321425"/>
            <a:ext cx="1127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b="1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9C73E21-1F2B-8C1B-D7FD-491492DEDB41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1655425" y="1330326"/>
            <a:ext cx="152400" cy="468471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  <a:effectLst/>
              </a:rPr>
              <a:t>Eklenen yeni ürünlerin Türkiye'nin tekstil ithalatındaki 2 basamaklı HS kodlarının RCA hesabı</a:t>
            </a:r>
            <a:endParaRPr lang="tr-TR" sz="1000" kern="1200" dirty="0">
              <a:solidFill>
                <a:schemeClr val="tx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383AB04-8375-0A61-3514-DF2FB7D56510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20713" y="4384675"/>
            <a:ext cx="113823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2B23E9C-720C-431E-8320-FEBFE0284F91}" type="datetime'''Öz''''''''el d''''''o''''ku''''''''''ma kuma''ş''l''''ar'">
              <a:rPr lang="tr-TR" altLang="en-US" sz="1000" b="1" kern="1200" smtClean="0">
                <a:solidFill>
                  <a:schemeClr val="bg2"/>
                </a:solidFill>
              </a:rPr>
              <a:pPr/>
              <a:t>Özel dokuma kumaşla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99E3417-22CE-870C-1E90-AC2073DDB71A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65138" y="5603875"/>
            <a:ext cx="12938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9DEE2F4-0F2D-4C44-89A8-9FBFDD6B9B73}" type="datetime'Diğer'''' ''ha''''z''ır t''ek''''stil ü''rünle''r''''''''i'">
              <a:rPr lang="tr-TR" altLang="en-US" sz="1000" b="1" kern="1200" smtClean="0">
                <a:solidFill>
                  <a:schemeClr val="bg2"/>
                </a:solidFill>
              </a:rPr>
              <a:pPr/>
              <a:t>Diğer hazır tekstil ürünleri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47DE091-59DD-1E3C-811F-121AA8FC39C7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184275" y="4791075"/>
            <a:ext cx="57467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150BDE3-95EC-47AF-BF6E-92AD5F1DBBE4}" type="datetime'''''''''''Ay''''a''''''kk''a''''''''b''''''ıl''''a''''r'''''''">
              <a:rPr lang="tr-TR" altLang="en-US" sz="1000" b="1" kern="1200" smtClean="0">
                <a:solidFill>
                  <a:schemeClr val="bg2"/>
                </a:solidFill>
              </a:rPr>
              <a:pPr/>
              <a:t>Ayakkabıla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E81B4DB8-2FAF-096C-4C36-8B4B406EDD40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347788" y="4994275"/>
            <a:ext cx="4111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76C181E-F2F6-4C55-9DC8-829317FA615A}" type="datetime'''B''''''''''aşl''''''ık''''''''la''''''''''''r'">
              <a:rPr lang="tr-TR" altLang="en-US" sz="1000" b="1" kern="1200" smtClean="0">
                <a:solidFill>
                  <a:schemeClr val="bg2"/>
                </a:solidFill>
              </a:rPr>
              <a:pPr/>
              <a:t>Başlıkla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01355D3A-9AA0-EBF2-41DC-08A4AEC38B70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85825" y="2282825"/>
            <a:ext cx="8731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5E9773C-66AD-49E9-A73F-52D714080462}" type="datetime'''Y''a''''''p''''a''y'''''' f''i''la''men''''''''''tl''e''r'''">
              <a:rPr lang="tr-TR" altLang="en-US" sz="1000" b="1" kern="1200" smtClean="0">
                <a:solidFill>
                  <a:schemeClr val="bg2"/>
                </a:solidFill>
              </a:rPr>
              <a:pPr/>
              <a:t>Yapay filamentle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1E2B8D68-7382-54AE-FEF8-DA7C9A17099F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81063" y="1776413"/>
            <a:ext cx="8778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E950ED0-3BCC-4EBA-BEDF-658229AEB1C2}" type="datetime'''''''''Y''''apay'''' kesi''k''li'' ''li''f''''''''''''le''r'">
              <a:rPr lang="tr-TR" altLang="en-US" sz="1000" b="1" kern="1200" smtClean="0">
                <a:solidFill>
                  <a:schemeClr val="bg2"/>
                </a:solidFill>
              </a:rPr>
              <a:pPr/>
              <a:t>Yapay kesikli lifle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0508C052-9EF3-6C10-B279-EA3B71DCA3C4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439863" y="5400675"/>
            <a:ext cx="319088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BFEF246-68F7-42DE-9D1D-B006446BDB7C}" type="datetime'''''Ha''l''''''''''''''ıl''''''''a''''''''''r'''">
              <a:rPr lang="tr-TR" altLang="en-US" sz="1000" b="1" kern="1200" smtClean="0">
                <a:solidFill>
                  <a:schemeClr val="bg2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Halılar</a:t>
            </a:fld>
            <a:endParaRPr lang="tr-TR" sz="1000" b="1" kern="1200">
              <a:solidFill>
                <a:schemeClr val="bg2"/>
              </a:solidFill>
            </a:endParaRP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8CBEE2D6-F893-AD8E-C9C0-81A2D608872E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92188" y="4587875"/>
            <a:ext cx="76676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61B660C-309A-4A43-B72A-56E6FA3F76DD}" type="datetime'''''Örm''''''e'''' ''''''''''''''''''''kum''''''a''''''ş''lar'">
              <a:rPr lang="tr-TR" altLang="en-US" sz="1000" b="1" kern="1200" smtClean="0">
                <a:solidFill>
                  <a:schemeClr val="tx1"/>
                </a:solidFill>
              </a:rPr>
              <a:pPr/>
              <a:t>Örme kumaşlar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68CD74DE-474E-4FFD-4407-42BDD065BF69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65138" y="5197475"/>
            <a:ext cx="1293813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695CC60-F0EC-4CE4-B712-61C1140B542F}" type="datetime'D''''i''''ğ''e''r ''haz''ır te''kst''il ''''ürü''nl''e''''ri'">
              <a:rPr lang="tr-TR" altLang="en-US" sz="1000" b="1" kern="1200" smtClean="0">
                <a:solidFill>
                  <a:schemeClr val="tx1"/>
                </a:solidFill>
              </a:rPr>
              <a:pPr/>
              <a:t>Diğer hazır tekstil ürünleri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943A7D25-F562-0AE4-C91F-FAC26498A834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355725" y="5807075"/>
            <a:ext cx="403225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04A3F06-890C-49A0-BDD1-CF13B8D8B81D}" type="datetime'M''''''''''''''''o''bi''''''''''''''''''''''''l''''ya'''''''">
              <a:rPr lang="tr-TR" altLang="en-US" sz="1000" b="1" kern="1200" smtClean="0">
                <a:solidFill>
                  <a:schemeClr val="tx1"/>
                </a:solidFill>
              </a:rPr>
              <a:pPr/>
              <a:t>Mobilya</a:t>
            </a:fld>
            <a:endParaRPr lang="tr-TR" sz="1000" b="1" kern="1200">
              <a:solidFill>
                <a:schemeClr val="tx1"/>
              </a:solidFill>
            </a:endParaRP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B2415CBE-F895-3ACF-71C4-64682946FF53}"/>
              </a:ext>
            </a:extLst>
          </p:cNvPr>
          <p:cNvSpPr/>
          <p:nvPr/>
        </p:nvSpPr>
        <p:spPr>
          <a:xfrm>
            <a:off x="-892165" y="3805087"/>
            <a:ext cx="5977143" cy="253221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 err="1">
                <a:solidFill>
                  <a:schemeClr val="tx1"/>
                </a:solidFill>
              </a:rPr>
              <a:t>Yukarıdaki’nin</a:t>
            </a:r>
            <a:r>
              <a:rPr lang="tr-TR" sz="1800" b="1" dirty="0">
                <a:solidFill>
                  <a:schemeClr val="tx1"/>
                </a:solidFill>
              </a:rPr>
              <a:t> Aynısı</a:t>
            </a: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Resm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renkleri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kullanalım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Kaynakça</a:t>
            </a:r>
            <a:r>
              <a:rPr lang="en-US" sz="1400" b="1" dirty="0">
                <a:solidFill>
                  <a:schemeClr val="tx1"/>
                </a:solidFill>
              </a:rPr>
              <a:t> yok</a:t>
            </a:r>
          </a:p>
          <a:p>
            <a:pPr algn="ctr"/>
            <a:r>
              <a:rPr lang="en-US" sz="1400" b="1" dirty="0" err="1">
                <a:solidFill>
                  <a:schemeClr val="tx1"/>
                </a:solidFill>
              </a:rPr>
              <a:t>Başlıkta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dirty="0" err="1">
                <a:solidFill>
                  <a:schemeClr val="tx1"/>
                </a:solidFill>
              </a:rPr>
              <a:t>yıllar</a:t>
            </a:r>
            <a:r>
              <a:rPr lang="en-US" sz="1400" b="1" dirty="0">
                <a:solidFill>
                  <a:schemeClr val="tx1"/>
                </a:solidFill>
              </a:rPr>
              <a:t> yok</a:t>
            </a:r>
          </a:p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2199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dörtgen 1">
            <a:extLst>
              <a:ext uri="{FF2B5EF4-FFF2-40B4-BE49-F238E27FC236}">
                <a16:creationId xmlns:a16="http://schemas.microsoft.com/office/drawing/2014/main" id="{B8D2163F-5A65-F10B-EA20-1EC32C52DCE2}"/>
              </a:ext>
            </a:extLst>
          </p:cNvPr>
          <p:cNvSpPr/>
          <p:nvPr/>
        </p:nvSpPr>
        <p:spPr>
          <a:xfrm>
            <a:off x="2796966" y="2162893"/>
            <a:ext cx="5977143" cy="253221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Kiminle ticaret yaptığımız eksik. Belki yanlış pazarlara bu ürünleri satıyoruz.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Bizim en büyük rakiplerimiz kimler? Bizim İhracat pazarımıza kimler ürün satıyor? (</a:t>
            </a:r>
            <a:r>
              <a:rPr lang="tr-TR" sz="1800" b="1" dirty="0" err="1">
                <a:solidFill>
                  <a:schemeClr val="tx1"/>
                </a:solidFill>
              </a:rPr>
              <a:t>Trade</a:t>
            </a:r>
            <a:r>
              <a:rPr lang="tr-TR" sz="1800" b="1" dirty="0">
                <a:solidFill>
                  <a:schemeClr val="tx1"/>
                </a:solidFill>
              </a:rPr>
              <a:t> </a:t>
            </a:r>
            <a:r>
              <a:rPr lang="tr-TR" sz="1800" b="1" dirty="0" err="1">
                <a:solidFill>
                  <a:schemeClr val="tx1"/>
                </a:solidFill>
              </a:rPr>
              <a:t>Similarity</a:t>
            </a:r>
            <a:r>
              <a:rPr lang="tr-TR" sz="1800" b="1" dirty="0">
                <a:solidFill>
                  <a:schemeClr val="tx1"/>
                </a:solidFill>
              </a:rPr>
              <a:t> Index)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Dünyadaki en büyük Tekstil ürünü üreticileri kimler??</a:t>
            </a:r>
            <a:endParaRPr lang="en-US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0DB87A-DC40-BB42-B075-F11E84FBEC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0838CC1-E1D1-62CE-877F-307394CD38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7959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38CC1-E1D1-62CE-877F-307394CD38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8B13FE-57F4-207D-18DE-E2C711AE4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ekstilde 2012’de ve 2017’de yeni eklenen 2 basamaklı HS Kodları</a:t>
            </a:r>
          </a:p>
        </p:txBody>
      </p:sp>
      <p:graphicFrame>
        <p:nvGraphicFramePr>
          <p:cNvPr id="441" name="Table 440">
            <a:extLst>
              <a:ext uri="{FF2B5EF4-FFF2-40B4-BE49-F238E27FC236}">
                <a16:creationId xmlns:a16="http://schemas.microsoft.com/office/drawing/2014/main" id="{5C2307C4-1DF8-221F-231B-6C67A102E8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4981497"/>
              </p:ext>
            </p:extLst>
          </p:nvPr>
        </p:nvGraphicFramePr>
        <p:xfrm>
          <a:off x="355601" y="1146870"/>
          <a:ext cx="11318782" cy="4937248"/>
        </p:xfrm>
        <a:graphic>
          <a:graphicData uri="http://schemas.openxmlformats.org/drawingml/2006/table">
            <a:tbl>
              <a:tblPr firstRow="1">
                <a:tableStyleId>{10A1B5D5-9B99-4C35-A422-299274C87663}</a:tableStyleId>
              </a:tblPr>
              <a:tblGrid>
                <a:gridCol w="510488">
                  <a:extLst>
                    <a:ext uri="{9D8B030D-6E8A-4147-A177-3AD203B41FA5}">
                      <a16:colId xmlns:a16="http://schemas.microsoft.com/office/drawing/2014/main" val="1440743560"/>
                    </a:ext>
                  </a:extLst>
                </a:gridCol>
                <a:gridCol w="1262594">
                  <a:extLst>
                    <a:ext uri="{9D8B030D-6E8A-4147-A177-3AD203B41FA5}">
                      <a16:colId xmlns:a16="http://schemas.microsoft.com/office/drawing/2014/main" val="333220715"/>
                    </a:ext>
                  </a:extLst>
                </a:gridCol>
                <a:gridCol w="5186517">
                  <a:extLst>
                    <a:ext uri="{9D8B030D-6E8A-4147-A177-3AD203B41FA5}">
                      <a16:colId xmlns:a16="http://schemas.microsoft.com/office/drawing/2014/main" val="1986646768"/>
                    </a:ext>
                  </a:extLst>
                </a:gridCol>
                <a:gridCol w="1100380">
                  <a:extLst>
                    <a:ext uri="{9D8B030D-6E8A-4147-A177-3AD203B41FA5}">
                      <a16:colId xmlns:a16="http://schemas.microsoft.com/office/drawing/2014/main" val="2555423305"/>
                    </a:ext>
                  </a:extLst>
                </a:gridCol>
                <a:gridCol w="1565328">
                  <a:extLst>
                    <a:ext uri="{9D8B030D-6E8A-4147-A177-3AD203B41FA5}">
                      <a16:colId xmlns:a16="http://schemas.microsoft.com/office/drawing/2014/main" val="443882730"/>
                    </a:ext>
                  </a:extLst>
                </a:gridCol>
                <a:gridCol w="790414">
                  <a:extLst>
                    <a:ext uri="{9D8B030D-6E8A-4147-A177-3AD203B41FA5}">
                      <a16:colId xmlns:a16="http://schemas.microsoft.com/office/drawing/2014/main" val="2335603299"/>
                    </a:ext>
                  </a:extLst>
                </a:gridCol>
                <a:gridCol w="903061">
                  <a:extLst>
                    <a:ext uri="{9D8B030D-6E8A-4147-A177-3AD203B41FA5}">
                      <a16:colId xmlns:a16="http://schemas.microsoft.com/office/drawing/2014/main" val="469872352"/>
                    </a:ext>
                  </a:extLst>
                </a:gridCol>
              </a:tblGrid>
              <a:tr h="432654"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Yıl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6 Basamaklı HS Kodu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6 Basamaklı HS İsmi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 Basamaklı HS Kodu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 Basamaklı HS İsmi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Sektör İsmi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4 Basamaklı HS Kodu 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625684581"/>
                  </a:ext>
                </a:extLst>
              </a:tr>
              <a:tr h="319727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58012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abrics: woven pile, of cotton, warp pile fabrics, other than fabrics of heading no. 5802 or 580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>
                          <a:effectLst/>
                        </a:rPr>
                        <a:t>58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Special woven fabric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801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4113928646"/>
                  </a:ext>
                </a:extLst>
              </a:tr>
              <a:tr h="319727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58013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Fabrics: woven pile, of man-made fibres, warp pile fabrics, other than fabrics of heading no. 5802 or 580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8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Special woven fabric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801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829898506"/>
                  </a:ext>
                </a:extLst>
              </a:tr>
              <a:tr h="319727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63069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Camping goods: (of textile materials), n.e.c in heading no. 630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3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Other made up textile articles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306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1349395450"/>
                  </a:ext>
                </a:extLst>
              </a:tr>
              <a:tr h="161024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64069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Footwear: parts, n.e.c. in heading 640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4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Footwear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406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275765614"/>
                  </a:ext>
                </a:extLst>
              </a:tr>
              <a:tr h="478430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65050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Hats and other headgear: knitted or crocheted, or made up from lace, felt or other textile fabric, in the piece (but not in strips), whether or not lined or trimmed: hair-nets of any material, whether or not lined or trimm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Headgear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50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3057794949"/>
                  </a:ext>
                </a:extLst>
              </a:tr>
              <a:tr h="478430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540253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Yarn, synthetic: filament, monofilament (less than 67 decitex), of polypropylene (not high tenacity or textured), single, twisted more than 50 turns per metre, not for retail sale, not sewing threa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4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Man-made filament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40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2328518354"/>
                  </a:ext>
                </a:extLst>
              </a:tr>
              <a:tr h="478430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540263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Yarn, synthetic: filament, monofilament (less than 67 decitex), of polypropylene, other than high tenacity or textured yarn, multiple (folded) or cabled, not for retail sale, not sewing threa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4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Man-made filament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>
                          <a:effectLst/>
                        </a:rPr>
                        <a:t>5402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2359684135"/>
                  </a:ext>
                </a:extLst>
              </a:tr>
              <a:tr h="319727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55021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effectLst/>
                        </a:rPr>
                        <a:t>Fibres</a:t>
                      </a:r>
                      <a:r>
                        <a:rPr lang="en-US" sz="1200" u="none" strike="noStrike" dirty="0">
                          <a:effectLst/>
                        </a:rPr>
                        <a:t>: artificial filament tow of cellulose acetat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Man-made staple fibr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50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2211877767"/>
                  </a:ext>
                </a:extLst>
              </a:tr>
              <a:tr h="319727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55029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Fibres: artificial filament tow, other than cellulose acetat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Man-made staple fibr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50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3917626000"/>
                  </a:ext>
                </a:extLst>
              </a:tr>
              <a:tr h="319727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 dirty="0">
                          <a:effectLst/>
                        </a:rPr>
                        <a:t>2017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 dirty="0">
                          <a:effectLst/>
                        </a:rPr>
                        <a:t>550640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Fibres: synthetic staple fibres, of polypropylene, carded, combed or otherwise processed for spinnin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Man-made staple fibr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506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3637107681"/>
                  </a:ext>
                </a:extLst>
              </a:tr>
              <a:tr h="478430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 dirty="0">
                          <a:effectLst/>
                        </a:rPr>
                        <a:t>570420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Carpets and other textile floor coverings: of felt, (not tufted or flocked), whether or not made up, having a maximum surface area exceeding 0.3 m2 but not exceeding 1 m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5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Carpet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>
                          <a:effectLst/>
                        </a:rPr>
                        <a:t>5704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1318139965"/>
                  </a:ext>
                </a:extLst>
              </a:tr>
            </a:tbl>
          </a:graphicData>
        </a:graphic>
      </p:graphicFrame>
      <p:sp>
        <p:nvSpPr>
          <p:cNvPr id="4" name="Dikdörtgen 3">
            <a:extLst>
              <a:ext uri="{FF2B5EF4-FFF2-40B4-BE49-F238E27FC236}">
                <a16:creationId xmlns:a16="http://schemas.microsoft.com/office/drawing/2014/main" id="{FB3B4EA7-ABFB-928F-0FED-CC24861F0374}"/>
              </a:ext>
            </a:extLst>
          </p:cNvPr>
          <p:cNvSpPr/>
          <p:nvPr/>
        </p:nvSpPr>
        <p:spPr>
          <a:xfrm>
            <a:off x="-717755" y="403123"/>
            <a:ext cx="2595716" cy="1676440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2 basamaklı değil 6 basamaklı. Ben yeni tekstil ürünlerini istememiştim. Genel Duruma Bakacaktık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E8B853-7BCD-E43F-181D-F664D6376876}"/>
              </a:ext>
            </a:extLst>
          </p:cNvPr>
          <p:cNvSpPr/>
          <p:nvPr/>
        </p:nvSpPr>
        <p:spPr>
          <a:xfrm>
            <a:off x="6267450" y="3429000"/>
            <a:ext cx="2743200" cy="228213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ÇÖP</a:t>
            </a:r>
          </a:p>
        </p:txBody>
      </p:sp>
    </p:spTree>
    <p:extLst>
      <p:ext uri="{BB962C8B-B14F-4D97-AF65-F5344CB8AC3E}">
        <p14:creationId xmlns:p14="http://schemas.microsoft.com/office/powerpoint/2010/main" val="31452465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983FEF-6678-1B42-6DA4-4F753B5E97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C2C61C7-3DB0-8B1D-CC44-7B3F7711BE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118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2C61C7-3DB0-8B1D-CC44-7B3F7711B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2C74CD-F4A5-0FBE-9665-BC18E8E2C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ekstilde 2012’de ve 2017’de yeni eklenen 2 basamaklı HS Kodları</a:t>
            </a:r>
          </a:p>
        </p:txBody>
      </p:sp>
      <p:graphicFrame>
        <p:nvGraphicFramePr>
          <p:cNvPr id="442" name="Table 441">
            <a:extLst>
              <a:ext uri="{FF2B5EF4-FFF2-40B4-BE49-F238E27FC236}">
                <a16:creationId xmlns:a16="http://schemas.microsoft.com/office/drawing/2014/main" id="{D236659A-0278-F049-267A-86BE90B318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4913479"/>
              </p:ext>
            </p:extLst>
          </p:nvPr>
        </p:nvGraphicFramePr>
        <p:xfrm>
          <a:off x="355600" y="1256858"/>
          <a:ext cx="11318782" cy="4617848"/>
        </p:xfrm>
        <a:graphic>
          <a:graphicData uri="http://schemas.openxmlformats.org/drawingml/2006/table">
            <a:tbl>
              <a:tblPr firstRow="1">
                <a:tableStyleId>{10A1B5D5-9B99-4C35-A422-299274C87663}</a:tableStyleId>
              </a:tblPr>
              <a:tblGrid>
                <a:gridCol w="510488">
                  <a:extLst>
                    <a:ext uri="{9D8B030D-6E8A-4147-A177-3AD203B41FA5}">
                      <a16:colId xmlns:a16="http://schemas.microsoft.com/office/drawing/2014/main" val="4077648051"/>
                    </a:ext>
                  </a:extLst>
                </a:gridCol>
                <a:gridCol w="1262594">
                  <a:extLst>
                    <a:ext uri="{9D8B030D-6E8A-4147-A177-3AD203B41FA5}">
                      <a16:colId xmlns:a16="http://schemas.microsoft.com/office/drawing/2014/main" val="2002298194"/>
                    </a:ext>
                  </a:extLst>
                </a:gridCol>
                <a:gridCol w="5186517">
                  <a:extLst>
                    <a:ext uri="{9D8B030D-6E8A-4147-A177-3AD203B41FA5}">
                      <a16:colId xmlns:a16="http://schemas.microsoft.com/office/drawing/2014/main" val="93017056"/>
                    </a:ext>
                  </a:extLst>
                </a:gridCol>
                <a:gridCol w="1100380">
                  <a:extLst>
                    <a:ext uri="{9D8B030D-6E8A-4147-A177-3AD203B41FA5}">
                      <a16:colId xmlns:a16="http://schemas.microsoft.com/office/drawing/2014/main" val="1235232003"/>
                    </a:ext>
                  </a:extLst>
                </a:gridCol>
                <a:gridCol w="1565328">
                  <a:extLst>
                    <a:ext uri="{9D8B030D-6E8A-4147-A177-3AD203B41FA5}">
                      <a16:colId xmlns:a16="http://schemas.microsoft.com/office/drawing/2014/main" val="1636125634"/>
                    </a:ext>
                  </a:extLst>
                </a:gridCol>
                <a:gridCol w="790414">
                  <a:extLst>
                    <a:ext uri="{9D8B030D-6E8A-4147-A177-3AD203B41FA5}">
                      <a16:colId xmlns:a16="http://schemas.microsoft.com/office/drawing/2014/main" val="2993994051"/>
                    </a:ext>
                  </a:extLst>
                </a:gridCol>
                <a:gridCol w="903061">
                  <a:extLst>
                    <a:ext uri="{9D8B030D-6E8A-4147-A177-3AD203B41FA5}">
                      <a16:colId xmlns:a16="http://schemas.microsoft.com/office/drawing/2014/main" val="3012162118"/>
                    </a:ext>
                  </a:extLst>
                </a:gridCol>
              </a:tblGrid>
              <a:tr h="463454"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Yıl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6 Basamaklı HS Kodu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6 Basamaklı HS İsmi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 Basamaklı HS Kodu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 Basamaklı HS İsmi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Sektör İsmi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4 Basamaklı HS Kodu 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472761520"/>
                  </a:ext>
                </a:extLst>
              </a:tr>
              <a:tr h="648584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 dirty="0">
                          <a:effectLst/>
                        </a:rPr>
                        <a:t>2017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 dirty="0">
                          <a:effectLst/>
                        </a:rPr>
                        <a:t>600535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abrics: warp knit (including those made on galloon knitting machines), other than those of headings 60.01 to 60.04, of synthetic </a:t>
                      </a:r>
                      <a:r>
                        <a:rPr lang="en-US" sz="1200" u="none" strike="noStrike" dirty="0" err="1">
                          <a:effectLst/>
                        </a:rPr>
                        <a:t>fibres</a:t>
                      </a:r>
                      <a:r>
                        <a:rPr lang="en-US" sz="1200" u="none" strike="noStrike" dirty="0">
                          <a:effectLst/>
                        </a:rPr>
                        <a:t> specified in Subheading Note 1 to this Chapt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Knitted fabric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0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1147866787"/>
                  </a:ext>
                </a:extLst>
              </a:tr>
              <a:tr h="437036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 dirty="0">
                          <a:effectLst/>
                        </a:rPr>
                        <a:t>600536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abrics: warp knit (including those made on galloon knitting machines), other than those of headings 60.01 to 60.04, of synthetic </a:t>
                      </a:r>
                      <a:r>
                        <a:rPr lang="en-US" sz="1200" u="none" strike="noStrike" dirty="0" err="1">
                          <a:effectLst/>
                        </a:rPr>
                        <a:t>fibres</a:t>
                      </a:r>
                      <a:r>
                        <a:rPr lang="en-US" sz="1200" u="none" strike="noStrike" dirty="0">
                          <a:effectLst/>
                        </a:rPr>
                        <a:t>, bleached or unbleach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Knitted fabric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0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1085442999"/>
                  </a:ext>
                </a:extLst>
              </a:tr>
              <a:tr h="437036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60053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abrics: warp knit (including those made on galloon knitting machines), other than those of headings 60.01 to 60.04, of synthetic </a:t>
                      </a:r>
                      <a:r>
                        <a:rPr lang="en-US" sz="1200" u="none" strike="noStrike" dirty="0" err="1">
                          <a:effectLst/>
                        </a:rPr>
                        <a:t>fibres</a:t>
                      </a:r>
                      <a:r>
                        <a:rPr lang="en-US" sz="1200" u="none" strike="noStrike" dirty="0">
                          <a:effectLst/>
                        </a:rPr>
                        <a:t>, dy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Knitted fabric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0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498656515"/>
                  </a:ext>
                </a:extLst>
              </a:tr>
              <a:tr h="437036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600538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abrics: warp knit (including those made on galloon knitting machines), other than those of headings 60.01 to 60.04, of synthetic </a:t>
                      </a:r>
                      <a:r>
                        <a:rPr lang="en-US" sz="1200" u="none" strike="noStrike" dirty="0" err="1">
                          <a:effectLst/>
                        </a:rPr>
                        <a:t>fibres</a:t>
                      </a:r>
                      <a:r>
                        <a:rPr lang="en-US" sz="1200" u="none" strike="noStrike" dirty="0">
                          <a:effectLst/>
                        </a:rPr>
                        <a:t>, yarns of different </a:t>
                      </a:r>
                      <a:r>
                        <a:rPr lang="en-US" sz="1200" u="none" strike="noStrike" dirty="0" err="1">
                          <a:effectLst/>
                        </a:rPr>
                        <a:t>colour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Knitted fabric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0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4247764955"/>
                  </a:ext>
                </a:extLst>
              </a:tr>
              <a:tr h="437036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600539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abrics: warp knit (including those made on galloon knitting machines), other than those of headings 60.01 to 60.04, of synthetic </a:t>
                      </a:r>
                      <a:r>
                        <a:rPr lang="en-US" sz="1200" u="none" strike="noStrike" dirty="0" err="1">
                          <a:effectLst/>
                        </a:rPr>
                        <a:t>fibres</a:t>
                      </a:r>
                      <a:r>
                        <a:rPr lang="en-US" sz="1200" u="none" strike="noStrike" dirty="0">
                          <a:effectLst/>
                        </a:rPr>
                        <a:t>, print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Knitted fabric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005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4050508282"/>
                  </a:ext>
                </a:extLst>
              </a:tr>
              <a:tr h="437036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63042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urnishing articles: excluding those of heading no. 9404, bed nets, specified in Subheading Note 1 to this Chapt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3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Other made up textile articles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6304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712999655"/>
                  </a:ext>
                </a:extLst>
              </a:tr>
              <a:tr h="220105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94015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 err="1">
                          <a:effectLst/>
                        </a:rPr>
                        <a:t>Seats</a:t>
                      </a:r>
                      <a:r>
                        <a:rPr lang="tr-TR" sz="1200" u="none" strike="noStrike" dirty="0">
                          <a:effectLst/>
                        </a:rPr>
                        <a:t>: of </a:t>
                      </a:r>
                      <a:r>
                        <a:rPr lang="tr-TR" sz="1200" u="none" strike="noStrike" dirty="0" err="1">
                          <a:effectLst/>
                        </a:rPr>
                        <a:t>bamboo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94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Furniture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9401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2534167302"/>
                  </a:ext>
                </a:extLst>
              </a:tr>
              <a:tr h="220105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940153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Seats: of rattan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94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Furniture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9401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2275393190"/>
                  </a:ext>
                </a:extLst>
              </a:tr>
              <a:tr h="220105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940382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 err="1">
                          <a:effectLst/>
                        </a:rPr>
                        <a:t>Furniture</a:t>
                      </a:r>
                      <a:r>
                        <a:rPr lang="tr-TR" sz="1200" u="none" strike="noStrike" dirty="0">
                          <a:effectLst/>
                        </a:rPr>
                        <a:t>: of </a:t>
                      </a:r>
                      <a:r>
                        <a:rPr lang="tr-TR" sz="1200" u="none" strike="noStrike" dirty="0" err="1">
                          <a:effectLst/>
                        </a:rPr>
                        <a:t>bamboo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>
                          <a:effectLst/>
                        </a:rPr>
                        <a:t>94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Furniture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9403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3858385427"/>
                  </a:ext>
                </a:extLst>
              </a:tr>
              <a:tr h="220105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940383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Furniture: of rattan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>
                          <a:effectLst/>
                        </a:rPr>
                        <a:t>94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 err="1">
                          <a:effectLst/>
                        </a:rPr>
                        <a:t>Furniture</a:t>
                      </a:r>
                      <a:r>
                        <a:rPr lang="tr-TR" sz="1200" u="none" strike="noStrike" dirty="0">
                          <a:effectLst/>
                        </a:rPr>
                        <a:t> 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Textiles 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9403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1463944880"/>
                  </a:ext>
                </a:extLst>
              </a:tr>
              <a:tr h="220105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94061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Buildings: prefabricated, of wood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94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 err="1">
                          <a:effectLst/>
                        </a:rPr>
                        <a:t>Furniture</a:t>
                      </a:r>
                      <a:r>
                        <a:rPr lang="tr-TR" sz="1200" u="none" strike="noStrike" dirty="0">
                          <a:effectLst/>
                        </a:rPr>
                        <a:t> 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 err="1">
                          <a:effectLst/>
                        </a:rPr>
                        <a:t>Textiles</a:t>
                      </a:r>
                      <a:r>
                        <a:rPr lang="tr-TR" sz="1200" u="none" strike="noStrike" dirty="0">
                          <a:effectLst/>
                        </a:rPr>
                        <a:t> 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>
                          <a:effectLst/>
                        </a:rPr>
                        <a:t>9406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3817954295"/>
                  </a:ext>
                </a:extLst>
              </a:tr>
              <a:tr h="220105"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2017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200" u="none" strike="noStrike">
                          <a:effectLst/>
                        </a:rPr>
                        <a:t>940690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Buildings: prefabricated, not of woo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>
                          <a:effectLst/>
                        </a:rPr>
                        <a:t>94</a:t>
                      </a:r>
                      <a:endParaRPr lang="tr-T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 err="1">
                          <a:effectLst/>
                        </a:rPr>
                        <a:t>Furniture</a:t>
                      </a:r>
                      <a:r>
                        <a:rPr lang="tr-TR" sz="1200" u="none" strike="noStrike" dirty="0">
                          <a:effectLst/>
                        </a:rPr>
                        <a:t> 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 err="1">
                          <a:effectLst/>
                        </a:rPr>
                        <a:t>Textiles</a:t>
                      </a:r>
                      <a:r>
                        <a:rPr lang="tr-TR" sz="1200" u="none" strike="noStrike" dirty="0">
                          <a:effectLst/>
                        </a:rPr>
                        <a:t> 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u="none" strike="noStrike" dirty="0">
                          <a:effectLst/>
                        </a:rPr>
                        <a:t>9406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41" marR="2341" marT="2341" marB="0" anchor="b"/>
                </a:tc>
                <a:extLst>
                  <a:ext uri="{0D108BD9-81ED-4DB2-BD59-A6C34878D82A}">
                    <a16:rowId xmlns:a16="http://schemas.microsoft.com/office/drawing/2014/main" val="3077897091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95879C9-DB66-0A08-B73F-5941AAF833B2}"/>
              </a:ext>
            </a:extLst>
          </p:cNvPr>
          <p:cNvSpPr/>
          <p:nvPr/>
        </p:nvSpPr>
        <p:spPr>
          <a:xfrm>
            <a:off x="6267450" y="3429000"/>
            <a:ext cx="2743200" cy="228213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ÇÖP</a:t>
            </a:r>
          </a:p>
        </p:txBody>
      </p:sp>
    </p:spTree>
    <p:extLst>
      <p:ext uri="{BB962C8B-B14F-4D97-AF65-F5344CB8AC3E}">
        <p14:creationId xmlns:p14="http://schemas.microsoft.com/office/powerpoint/2010/main" val="2968481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DF14670-A328-00A1-9CE6-CE088B94F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428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425" imgH="426" progId="TCLayout.ActiveDocument.1">
                  <p:embed/>
                </p:oleObj>
              </mc:Choice>
              <mc:Fallback>
                <p:oleObj name="think-cell Slide" r:id="rId49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F14670-A328-00A1-9CE6-CE088B94F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877133-0E9A-69CF-2FAE-FB2A3737F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ürkiye’de Tekstil Sektörünün Ticaret Hacminin Türkiye’nin Toplam Ticaret Hacmine Oranı</a:t>
            </a:r>
          </a:p>
        </p:txBody>
      </p:sp>
      <p:graphicFrame>
        <p:nvGraphicFramePr>
          <p:cNvPr id="639" name="Chart 638">
            <a:extLst>
              <a:ext uri="{FF2B5EF4-FFF2-40B4-BE49-F238E27FC236}">
                <a16:creationId xmlns:a16="http://schemas.microsoft.com/office/drawing/2014/main" id="{13F6BA38-144A-A17C-FEA4-7D6A71C374F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6116775"/>
              </p:ext>
            </p:extLst>
          </p:nvPr>
        </p:nvGraphicFramePr>
        <p:xfrm>
          <a:off x="693738" y="989013"/>
          <a:ext cx="10523537" cy="5160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372" name="Rectangle 371">
            <a:extLst>
              <a:ext uri="{FF2B5EF4-FFF2-40B4-BE49-F238E27FC236}">
                <a16:creationId xmlns:a16="http://schemas.microsoft.com/office/drawing/2014/main" id="{310E6C84-2E28-BE0C-0F90-839A3482CBF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1236325" y="2163763"/>
            <a:ext cx="212725" cy="28098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Türkiye’nin Ticaret Hacmi (Milyar Dolar)</a:t>
            </a:r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381" name="Rectangle 380">
            <a:extLst>
              <a:ext uri="{FF2B5EF4-FFF2-40B4-BE49-F238E27FC236}">
                <a16:creationId xmlns:a16="http://schemas.microsoft.com/office/drawing/2014/main" id="{42A1D079-713B-A0C9-F5CF-087216F3D703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103313" y="3232150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4F1DEE3-6CF1-4EC5-9744-C0465813987C}" type="datetime'''''''''''''''''''''''''''''''''37''''''''''0''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70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382" name="Rectangle 381">
            <a:extLst>
              <a:ext uri="{FF2B5EF4-FFF2-40B4-BE49-F238E27FC236}">
                <a16:creationId xmlns:a16="http://schemas.microsoft.com/office/drawing/2014/main" id="{6FCFEF43-7C59-EC41-493C-3675011187A8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147763" y="5505450"/>
            <a:ext cx="2317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8B21CF3-2BBE-4C76-A22D-BEC926A702E5}" type="datetime'''''''4''''''''''''''''4''''''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4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445" name="Rectangle 444">
            <a:extLst>
              <a:ext uri="{FF2B5EF4-FFF2-40B4-BE49-F238E27FC236}">
                <a16:creationId xmlns:a16="http://schemas.microsoft.com/office/drawing/2014/main" id="{1CD210E2-057C-191E-D69A-694C72D224A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76325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A528A36-4D05-4A2B-B44C-8A260557A601}" type="datetime'''''''2''''''''''''0''''''''''''''''''''1''''''''''2''''''''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4A836DCE-3C95-FD0B-4B48-33B2A6B1208B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2078038" y="3227388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5774B45-33F6-4FE1-8357-A69D73719333}" type="datetime'''''4''0''''''''''''''''''''''5''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5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F43A3580-5651-9EA6-CC84-6E53F01F0F9A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2122488" y="5500688"/>
            <a:ext cx="2317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E2C1AE5-50DC-46C5-BB01-74D802EDC394}" type="datetime'''''''''4''''''''''''9''''''''''''''''''''''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9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446" name="Rectangle 445">
            <a:extLst>
              <a:ext uri="{FF2B5EF4-FFF2-40B4-BE49-F238E27FC236}">
                <a16:creationId xmlns:a16="http://schemas.microsoft.com/office/drawing/2014/main" id="{66F307C5-F090-BB53-6180-29A3B4809B16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051050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70F1C3D-3053-45F6-A51E-FC9DCB909A70}" type="datetime'''''''''''''''''2''''''0''''''1''''''''''''''3''''''''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73C5E53B-AE6E-4347-B468-F67263016C91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3051175" y="3214688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4CA239B-418B-4B4F-9C79-87D9FE7E0749}" type="datetime'''''''''''''4''''''''0''5''''''''''''''''''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5</a:t>
            </a:fld>
            <a:endParaRPr lang="tr-TR" kern="1200" dirty="0">
              <a:solidFill>
                <a:schemeClr val="bg1"/>
              </a:solidFill>
            </a:endParaRPr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A4EBD5D5-D1BD-7654-20DF-F0B275F6C7C7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3095625" y="5489575"/>
            <a:ext cx="2317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CAFA35-A3F2-4EA9-A291-64F03AE7593A}" type="datetime'''''''''''''''''''''''''''''''''5''''''''''2''''''''''''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2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447" name="Rectangle 446">
            <a:extLst>
              <a:ext uri="{FF2B5EF4-FFF2-40B4-BE49-F238E27FC236}">
                <a16:creationId xmlns:a16="http://schemas.microsoft.com/office/drawing/2014/main" id="{1FF1CF30-CE1B-D918-4E3D-553BF4B40849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024188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1B69B70-1EDF-48BE-BD95-FBD6457F8246}" type="datetime'''''''''''2''''''''0''''''''''''''''''''''1''''''''4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5F123FEA-FF29-41A1-1C2B-EA3F50D54550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4025900" y="3216275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186A3E6-8947-42A2-8A02-25EA74D4C064}" type="datetime'''''''''''3''''''''''''''''6''1''''''''''''''''''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61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1FC16482-714E-9D46-968E-5F7A3562502C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4070350" y="5489575"/>
            <a:ext cx="2317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F945874-4687-4129-97F7-411AD5ED327F}" type="datetime'''''''''''''''''''''''''''''4''6''''''''''''''''''''''''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448" name="Rectangle 447">
            <a:extLst>
              <a:ext uri="{FF2B5EF4-FFF2-40B4-BE49-F238E27FC236}">
                <a16:creationId xmlns:a16="http://schemas.microsoft.com/office/drawing/2014/main" id="{A2E59E15-BB82-7B2B-1A49-C11A96CA4EF8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998913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EBD8C20-76EF-414E-8681-B308909E6AEC}" type="datetime'''''''''''''''''''''201''''''''''''''''''''''5''''''''''''''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98" name="Rectangle 397">
            <a:extLst>
              <a:ext uri="{FF2B5EF4-FFF2-40B4-BE49-F238E27FC236}">
                <a16:creationId xmlns:a16="http://schemas.microsoft.com/office/drawing/2014/main" id="{5AF58F56-CFAE-68D6-2DE7-CF81350CCC6A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5000625" y="3216275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920255E-BE72-4187-A330-FB406376FD77}" type="datetime'''''3''''''''''5''''''9''''''''''''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9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399" name="Rectangle 398">
            <a:extLst>
              <a:ext uri="{FF2B5EF4-FFF2-40B4-BE49-F238E27FC236}">
                <a16:creationId xmlns:a16="http://schemas.microsoft.com/office/drawing/2014/main" id="{5259F927-3804-DD26-9A9E-568812CDCDE5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5045075" y="5489575"/>
            <a:ext cx="2317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AFC7EA-2D5E-48ED-8CA5-FDCAB27CB1CF}" type="datetime'''''''''''''''''4''''''''''6''''''''''''''''''''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7D57F96E-E032-CAAF-0C33-740B5D813F75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4973638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9379AE2-4855-4692-905B-4AD81EE2C50A}" type="datetime'''''''''''''''''''''''''''2''''''''''''''0''16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00" name="Rectangle 399">
            <a:extLst>
              <a:ext uri="{FF2B5EF4-FFF2-40B4-BE49-F238E27FC236}">
                <a16:creationId xmlns:a16="http://schemas.microsoft.com/office/drawing/2014/main" id="{60800E9C-1107-BD27-01A4-C8B285BD962B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5975350" y="3233738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3457D45-4B57-4C4D-954A-85FD73C7CDED}" type="datetime'3''9''''''''''''''''''''''''''''3''''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93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401" name="Rectangle 400">
            <a:extLst>
              <a:ext uri="{FF2B5EF4-FFF2-40B4-BE49-F238E27FC236}">
                <a16:creationId xmlns:a16="http://schemas.microsoft.com/office/drawing/2014/main" id="{97906A1B-EC8D-7C0F-BB4C-C85FC542170C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6019800" y="5508625"/>
            <a:ext cx="2317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15E088C-25A5-4180-988E-023E60BBB882}" type="datetime'''''''''''''''''''''''''''4''''''''''6''''''''''''''''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450" name="Rectangle 449">
            <a:extLst>
              <a:ext uri="{FF2B5EF4-FFF2-40B4-BE49-F238E27FC236}">
                <a16:creationId xmlns:a16="http://schemas.microsoft.com/office/drawing/2014/main" id="{1576A258-2D5F-562B-A990-FDB84700E5B0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5948363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C93346F-91DD-4BA7-8C8D-5392183A5924}" type="datetime'''''''''''''''''2''''''0''1''''''''''''''''''''7''''''''''''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02" name="Rectangle 401">
            <a:extLst>
              <a:ext uri="{FF2B5EF4-FFF2-40B4-BE49-F238E27FC236}">
                <a16:creationId xmlns:a16="http://schemas.microsoft.com/office/drawing/2014/main" id="{E61A2D8F-9F67-1E54-0B93-7C6CC0250B58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6950075" y="3232150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A78D1E0-884C-4C33-AE71-B6BA78E1DEC1}" type="datetime'''''''''''''''''''''''''''''''''3''''''''''''''''''''9''''''9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99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403" name="Rectangle 402">
            <a:extLst>
              <a:ext uri="{FF2B5EF4-FFF2-40B4-BE49-F238E27FC236}">
                <a16:creationId xmlns:a16="http://schemas.microsoft.com/office/drawing/2014/main" id="{A929D545-6750-20A7-03AD-8AE584B3C044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6994525" y="5505450"/>
            <a:ext cx="2317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21E80CB-6F4B-4170-B55B-0D6DFCAB83FE}" type="datetime'''''''''''''4''''''''''''''''''''''''8''''''''''''''''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8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451" name="Rectangle 450">
            <a:extLst>
              <a:ext uri="{FF2B5EF4-FFF2-40B4-BE49-F238E27FC236}">
                <a16:creationId xmlns:a16="http://schemas.microsoft.com/office/drawing/2014/main" id="{FDAA84A8-0DF9-AA86-58EF-7B72404EC16C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923088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DB84456-9B81-4497-82C9-6AE0D0876598}" type="datetime'''2''''''''''0''''''''''''''''''1''8''''''''''''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99E6122F-2428-534D-7172-887B2D4DD500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7923213" y="3222625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8082886-B395-4F6F-8446-EBAF67795E6E}" type="datetime'''3''''8''''''''''''''''''''''''5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85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406" name="Rectangle 405">
            <a:extLst>
              <a:ext uri="{FF2B5EF4-FFF2-40B4-BE49-F238E27FC236}">
                <a16:creationId xmlns:a16="http://schemas.microsoft.com/office/drawing/2014/main" id="{1616FB6C-6C35-3956-C88F-BA704720450A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7967663" y="5497513"/>
            <a:ext cx="2317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BE45251-82C3-4231-80C3-697D0B12756F}" type="datetime'''''''''''''''''''''''''''''''''4''''8''''''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8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452" name="Rectangle 451">
            <a:extLst>
              <a:ext uri="{FF2B5EF4-FFF2-40B4-BE49-F238E27FC236}">
                <a16:creationId xmlns:a16="http://schemas.microsoft.com/office/drawing/2014/main" id="{9AAA1E00-DA94-48DE-1DAC-D4052F1051F1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7896225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441AAE8-C8F9-41C3-8AB4-C8DEDB940E9B}" type="datetime'''''''''''2''''0''''''1''''''''''''''''''''''''''9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08" name="Rectangle 407">
            <a:extLst>
              <a:ext uri="{FF2B5EF4-FFF2-40B4-BE49-F238E27FC236}">
                <a16:creationId xmlns:a16="http://schemas.microsoft.com/office/drawing/2014/main" id="{BB92F091-73A6-5353-8FC9-ADC6FD4F3EC3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8942388" y="5516563"/>
            <a:ext cx="2317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F4F068B-3D23-48AF-8161-8B4F1E4EEF44}" type="datetime'''''''''''''''''''''''''''''''4''''''4''''''''''''''''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4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453" name="Rectangle 452">
            <a:extLst>
              <a:ext uri="{FF2B5EF4-FFF2-40B4-BE49-F238E27FC236}">
                <a16:creationId xmlns:a16="http://schemas.microsoft.com/office/drawing/2014/main" id="{78A43A51-DDA6-474B-97E9-A0C82B7C1BAB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8870950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FCDD5B2-BA4F-4417-AC25-7B346BE8A4F5}" type="datetime'''''''''''''2''0''''''''''''2''''''''0''''''''''''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8AF6724C-3E2F-33F9-7134-185F5BC6C3F2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9872663" y="3240088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2DD6702-5D52-4B93-B874-0A73EA447362}" type="datetime'''4''''''''''''''''''8''''''''''''''''''2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82</a:t>
            </a:fld>
            <a:endParaRPr lang="tr-TR" kern="1200" dirty="0">
              <a:solidFill>
                <a:schemeClr val="bg1"/>
              </a:solidFill>
            </a:endParaRPr>
          </a:p>
        </p:txBody>
      </p:sp>
      <p:sp>
        <p:nvSpPr>
          <p:cNvPr id="411" name="Rectangle 410">
            <a:extLst>
              <a:ext uri="{FF2B5EF4-FFF2-40B4-BE49-F238E27FC236}">
                <a16:creationId xmlns:a16="http://schemas.microsoft.com/office/drawing/2014/main" id="{80AFB00E-D6C4-45B6-26FB-FEE80C6A593D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9917113" y="5513388"/>
            <a:ext cx="2317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8D26D42-7688-4C8E-ABEB-CF39DEE6BC36}" type="datetime'''''''5''''''''''''''''''''5'''''''''''''''''''''''''''">
              <a:rPr lang="tr-TR" altLang="en-US" kern="12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5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454" name="Rectangle 453">
            <a:extLst>
              <a:ext uri="{FF2B5EF4-FFF2-40B4-BE49-F238E27FC236}">
                <a16:creationId xmlns:a16="http://schemas.microsoft.com/office/drawing/2014/main" id="{6E6EDD8A-D91C-BAF0-B6A0-8B941A068DA8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9845675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0F07397-0220-4785-AB17-D14EEBCFFBAF}" type="datetime'''''''''''''2''''''''''''02''''''''''''''1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05" name="Rectangle 404">
            <a:extLst>
              <a:ext uri="{FF2B5EF4-FFF2-40B4-BE49-F238E27FC236}">
                <a16:creationId xmlns:a16="http://schemas.microsoft.com/office/drawing/2014/main" id="{7E370DFD-1E7F-E29C-D4DC-02C904F14E04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5567363" y="6257925"/>
            <a:ext cx="1635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Yıl</a:t>
            </a:r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456" name="Rectangle 455">
            <a:extLst>
              <a:ext uri="{FF2B5EF4-FFF2-40B4-BE49-F238E27FC236}">
                <a16:creationId xmlns:a16="http://schemas.microsoft.com/office/drawing/2014/main" id="{BD62EC5D-FCB4-762E-0392-52D963797ECE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2078038" y="1077913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0CCD1E8-0C96-48BC-AE45-2EC32F8E1DF3}" type="datetime'''''''4''''''''''''''''''''''''5''''''''''''''4''''''''''''''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5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57" name="Rectangle 456">
            <a:extLst>
              <a:ext uri="{FF2B5EF4-FFF2-40B4-BE49-F238E27FC236}">
                <a16:creationId xmlns:a16="http://schemas.microsoft.com/office/drawing/2014/main" id="{682ADEC0-4C3F-6EEE-009C-33B88518B68D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3051175" y="1077913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C14E0B7-BBBD-4050-9C74-61F1136EED15}" type="datetime'''''''''''''''4''''''''''''5''7''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5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58" name="Rectangle 457">
            <a:extLst>
              <a:ext uri="{FF2B5EF4-FFF2-40B4-BE49-F238E27FC236}">
                <a16:creationId xmlns:a16="http://schemas.microsoft.com/office/drawing/2014/main" id="{2DE8CE0D-8F96-7C76-820F-34C132CF3D90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4025900" y="1077913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CFF9F41-1173-4DC7-8370-072EBEBCD4F4}" type="datetime'''''''''''''''''''''''4''0''''''''8''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59" name="Rectangle 458">
            <a:extLst>
              <a:ext uri="{FF2B5EF4-FFF2-40B4-BE49-F238E27FC236}">
                <a16:creationId xmlns:a16="http://schemas.microsoft.com/office/drawing/2014/main" id="{DF6E9087-E653-F11A-A6F3-2C3CFA87AC5F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5000625" y="1077913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DC382E0-1D01-474A-A9D0-DE27848DA22A}" type="datetime'''''''''''''''40''''''''''''''''''''''''''''''''''''4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55" name="Rectangle 454">
            <a:extLst>
              <a:ext uri="{FF2B5EF4-FFF2-40B4-BE49-F238E27FC236}">
                <a16:creationId xmlns:a16="http://schemas.microsoft.com/office/drawing/2014/main" id="{836F7DF7-27CA-8655-5736-A0B09D00C389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1103313" y="1077913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AA3994D-8DFB-4357-A5DD-BB06FC508D11}" type="datetime'''''''''''4''''''''''''1''''''''''''''4''''''''''''''''''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61" name="Rectangle 460">
            <a:extLst>
              <a:ext uri="{FF2B5EF4-FFF2-40B4-BE49-F238E27FC236}">
                <a16:creationId xmlns:a16="http://schemas.microsoft.com/office/drawing/2014/main" id="{79A763B5-B06D-0532-F891-422897897CCF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6950075" y="1077913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9CC7ABF-358F-453D-887A-8B1E88AE3AF2}" type="datetime'''4''''''''''''''''4''''''''''''''''''''''6''''''''''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4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62" name="Rectangle 461">
            <a:extLst>
              <a:ext uri="{FF2B5EF4-FFF2-40B4-BE49-F238E27FC236}">
                <a16:creationId xmlns:a16="http://schemas.microsoft.com/office/drawing/2014/main" id="{7046B65E-3558-6256-45C6-AE1BD4EEEA1C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7923213" y="1077913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AF132DF-0F4A-43B3-A6C0-84957AD20924}" type="datetime'''''''''''''''''4''''3''''''''''''''''''''''''''''3''''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3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63" name="Rectangle 462">
            <a:extLst>
              <a:ext uri="{FF2B5EF4-FFF2-40B4-BE49-F238E27FC236}">
                <a16:creationId xmlns:a16="http://schemas.microsoft.com/office/drawing/2014/main" id="{A43D8D8B-02E5-87AB-98E5-E9258C6AE5C5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8897938" y="1077913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62526D-4136-4F4E-9197-735E72BA88E4}" type="datetime'''''''''''''''''''''''''4''''''''''''''''''''''''''''''''33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3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64" name="Rectangle 463">
            <a:extLst>
              <a:ext uri="{FF2B5EF4-FFF2-40B4-BE49-F238E27FC236}">
                <a16:creationId xmlns:a16="http://schemas.microsoft.com/office/drawing/2014/main" id="{32287B0B-D9BF-B49B-8983-478697EEB01F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9872663" y="1077913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EE4DEB-4755-49ED-BF18-FED2D42CDFC7}" type="datetime'''''''5''''''''''''''''''''''''3''''7''''''''''''''''''''''''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3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60" name="Rectangle 459">
            <a:extLst>
              <a:ext uri="{FF2B5EF4-FFF2-40B4-BE49-F238E27FC236}">
                <a16:creationId xmlns:a16="http://schemas.microsoft.com/office/drawing/2014/main" id="{F31D48F9-9B26-A59D-3B58-8D5A5AEC61BE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5975350" y="1077913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D280D7F-5014-421E-A72E-B026454182A4}" type="datetime'''''''''''''''43''''''''''''''''9'''''''''''''''''''''''''">
              <a:rPr lang="tr-TR" altLang="en-US" kern="12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3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9E54FA92-A211-FC6E-2D5F-5766951641B9}"/>
              </a:ext>
            </a:extLst>
          </p:cNvPr>
          <p:cNvSpPr/>
          <p:nvPr/>
        </p:nvSpPr>
        <p:spPr>
          <a:xfrm>
            <a:off x="6468857" y="6389688"/>
            <a:ext cx="5977143" cy="411014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Yüzde grafikler için </a:t>
            </a:r>
            <a:r>
              <a:rPr lang="tr-TR" sz="1800" b="1" dirty="0" err="1">
                <a:solidFill>
                  <a:schemeClr val="tx1"/>
                </a:solidFill>
              </a:rPr>
              <a:t>Thinkcell’deki</a:t>
            </a:r>
            <a:r>
              <a:rPr lang="tr-TR" sz="1800" b="1" dirty="0">
                <a:solidFill>
                  <a:schemeClr val="tx1"/>
                </a:solidFill>
              </a:rPr>
              <a:t> yüzdelik grafiği kullan. Toplamı 100 olan bir şeyin boyutu yıllara göre nasıl değişir?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Toplam Ticaret Hacmi ise üzerinde miktar yazsın Sağ köşede değil.</a:t>
            </a:r>
          </a:p>
          <a:p>
            <a:pPr algn="ctr"/>
            <a:r>
              <a:rPr lang="tr-TR" sz="1800" b="1" dirty="0" err="1">
                <a:solidFill>
                  <a:schemeClr val="tx1"/>
                </a:solidFill>
              </a:rPr>
              <a:t>Fintegral</a:t>
            </a:r>
            <a:r>
              <a:rPr lang="tr-TR" sz="1800" b="1" dirty="0">
                <a:solidFill>
                  <a:schemeClr val="tx1"/>
                </a:solidFill>
              </a:rPr>
              <a:t> Renklerini kullanarak grafik yapmalısın.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Ve bu grafik </a:t>
            </a:r>
            <a:r>
              <a:rPr lang="tr-TR" sz="1800" b="1" dirty="0" err="1">
                <a:solidFill>
                  <a:schemeClr val="tx1"/>
                </a:solidFill>
              </a:rPr>
              <a:t>line</a:t>
            </a:r>
            <a:r>
              <a:rPr lang="tr-TR" sz="1800" b="1" dirty="0">
                <a:solidFill>
                  <a:schemeClr val="tx1"/>
                </a:solidFill>
              </a:rPr>
              <a:t> olarak daha güzel duruyor. 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Neden 2022 yok?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Başlıkta yıllar yok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Kaynakça Yok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466" name="Rectangle 465">
            <a:extLst>
              <a:ext uri="{FF2B5EF4-FFF2-40B4-BE49-F238E27FC236}">
                <a16:creationId xmlns:a16="http://schemas.microsoft.com/office/drawing/2014/main" id="{FEA84455-3090-256C-B47F-547C13F2C97C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50800" y="3917950"/>
            <a:ext cx="179388" cy="1333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467" name="Rectangle 466">
            <a:extLst>
              <a:ext uri="{FF2B5EF4-FFF2-40B4-BE49-F238E27FC236}">
                <a16:creationId xmlns:a16="http://schemas.microsoft.com/office/drawing/2014/main" id="{FD45B90C-BA05-4B75-2203-603BF7C9A3CD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50800" y="4883150"/>
            <a:ext cx="179388" cy="13335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86DC1F13-D0DD-9BBB-F908-78DDC3218BD2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280988" y="3913188"/>
            <a:ext cx="679450" cy="914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</a:rPr>
              <a:t>Türkiye’deki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</a:rPr>
              <a:t>Diğer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</a:rPr>
              <a:t>Sektörlerdeki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solidFill>
                  <a:schemeClr val="tx1"/>
                </a:solidFill>
              </a:rPr>
              <a:t>Ticaret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solidFill>
                  <a:schemeClr val="tx1"/>
                </a:solidFill>
              </a:rPr>
              <a:t>Hacminin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solidFill>
                  <a:schemeClr val="tx1"/>
                </a:solidFill>
              </a:rPr>
              <a:t>Oranı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E7548B9C-1262-972C-27FE-B750D79D62B7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280988" y="4878388"/>
            <a:ext cx="538163" cy="914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tr-TR" altLang="en-US" sz="1000" kern="1200" dirty="0">
                <a:solidFill>
                  <a:schemeClr val="tx1"/>
                </a:solidFill>
              </a:rPr>
              <a:t>Türkiye’de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solidFill>
                  <a:schemeClr val="tx1"/>
                </a:solidFill>
              </a:rPr>
              <a:t>Tekstil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solidFill>
                  <a:schemeClr val="tx1"/>
                </a:solidFill>
              </a:rPr>
              <a:t>Sektör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solidFill>
                  <a:schemeClr val="tx1"/>
                </a:solidFill>
              </a:rPr>
              <a:t>Ticaret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solidFill>
                  <a:schemeClr val="tx1"/>
                </a:solidFill>
              </a:rPr>
              <a:t>Hacminin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solidFill>
                  <a:schemeClr val="tx1"/>
                </a:solidFill>
              </a:rPr>
              <a:t>Oranı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73BED20A-D9C6-A0FD-2C31-655F28E86994}"/>
              </a:ext>
            </a:extLst>
          </p:cNvPr>
          <p:cNvSpPr/>
          <p:nvPr/>
        </p:nvSpPr>
        <p:spPr>
          <a:xfrm>
            <a:off x="1128713" y="6257925"/>
            <a:ext cx="2895600" cy="171771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Renkler </a:t>
            </a:r>
            <a:r>
              <a:rPr lang="tr-TR" dirty="0" err="1"/>
              <a:t>fintegrale</a:t>
            </a:r>
            <a:r>
              <a:rPr lang="tr-TR" dirty="0"/>
              <a:t> </a:t>
            </a:r>
            <a:r>
              <a:rPr lang="tr-TR" dirty="0" err="1"/>
              <a:t>çevirilecek</a:t>
            </a:r>
            <a:endParaRPr lang="tr-TR" dirty="0"/>
          </a:p>
          <a:p>
            <a:pPr algn="ctr"/>
            <a:r>
              <a:rPr lang="tr-TR" dirty="0"/>
              <a:t>2022 eklenecek (Python)</a:t>
            </a:r>
          </a:p>
          <a:p>
            <a:pPr algn="ctr"/>
            <a:r>
              <a:rPr lang="tr-TR" dirty="0"/>
              <a:t>Başlıkta yıllar </a:t>
            </a:r>
            <a:r>
              <a:rPr lang="tr-TR" dirty="0" err="1"/>
              <a:t>eklenicek</a:t>
            </a:r>
            <a:r>
              <a:rPr lang="tr-TR" dirty="0"/>
              <a:t> makyajı yapılacak aşağıdakiler gibi</a:t>
            </a:r>
          </a:p>
          <a:p>
            <a:pPr algn="ctr"/>
            <a:r>
              <a:rPr lang="tr-TR" dirty="0" err="1"/>
              <a:t>Line</a:t>
            </a:r>
            <a:r>
              <a:rPr lang="tr-TR" dirty="0"/>
              <a:t> olarak bak</a:t>
            </a:r>
          </a:p>
          <a:p>
            <a:pPr algn="ctr"/>
            <a:r>
              <a:rPr lang="tr-TR" dirty="0"/>
              <a:t>Hacmi ise üstünde yazsın</a:t>
            </a:r>
          </a:p>
          <a:p>
            <a:pPr algn="ctr"/>
            <a:r>
              <a:rPr lang="tr-TR" dirty="0"/>
              <a:t>Grafiğin adına yıl eklenecek</a:t>
            </a:r>
          </a:p>
        </p:txBody>
      </p:sp>
      <p:sp>
        <p:nvSpPr>
          <p:cNvPr id="165" name="Dikdörtgen 195">
            <a:extLst>
              <a:ext uri="{FF2B5EF4-FFF2-40B4-BE49-F238E27FC236}">
                <a16:creationId xmlns:a16="http://schemas.microsoft.com/office/drawing/2014/main" id="{B8E469FE-CCA0-03FF-087B-BA3E02ED72DB}"/>
              </a:ext>
            </a:extLst>
          </p:cNvPr>
          <p:cNvSpPr/>
          <p:nvPr/>
        </p:nvSpPr>
        <p:spPr>
          <a:xfrm>
            <a:off x="10570621" y="1955801"/>
            <a:ext cx="5977143" cy="90701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En üstteki kısmı mesaj vermek için kullanalım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6060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44F4C9-5790-F127-08CB-FA1A95B177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7D8DAFE-9F03-363C-E435-2B8D5F12CF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1394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6" progId="TCLayout.ActiveDocument.1">
                  <p:embed/>
                </p:oleObj>
              </mc:Choice>
              <mc:Fallback>
                <p:oleObj name="think-cell Slide" r:id="rId14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D8DAFE-9F03-363C-E435-2B8D5F12CF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F386C9-0F8A-A2A7-C014-D5CB25A6D8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sz="2400" b="1" dirty="0">
                <a:solidFill>
                  <a:srgbClr val="1E2B51"/>
                </a:solidFill>
                <a:latin typeface="Proxima Nova" panose="020B0604020202020204" charset="0"/>
              </a:rPr>
              <a:t>Tekstil ürünlerinin dış ticaretteki oranı pandemi sonrasında duraksıyor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1E50E73-6551-0A21-1C5A-289706F96B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2770568"/>
              </p:ext>
            </p:extLst>
          </p:nvPr>
        </p:nvGraphicFramePr>
        <p:xfrm>
          <a:off x="554038" y="1698625"/>
          <a:ext cx="10750550" cy="3895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404" name="Dikdörtgen 403">
            <a:extLst>
              <a:ext uri="{FF2B5EF4-FFF2-40B4-BE49-F238E27FC236}">
                <a16:creationId xmlns:a16="http://schemas.microsoft.com/office/drawing/2014/main" id="{D6CADD02-F9BC-3C1A-C44F-5AEA2FB45886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565150" y="4995863"/>
            <a:ext cx="203200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11E3464-8E5C-434B-9324-425085A26E68}" type="datetime'''''''''''''''''''''''''''''3''''''''''''5'''''''''''''">
              <a:rPr lang="tr-TR" altLang="en-US" kern="1200" smtClean="0">
                <a:solidFill>
                  <a:srgbClr val="F89D56"/>
                </a:solidFill>
                <a:effectLst/>
                <a:latin typeface="Proxima Nova" panose="020B060402020202020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</a:t>
            </a:fld>
            <a:endParaRPr lang="tr-TR" kern="1200">
              <a:solidFill>
                <a:srgbClr val="F89D56"/>
              </a:solidFill>
              <a:latin typeface="Proxima Nova" panose="020B0604020202020204" charset="0"/>
            </a:endParaRPr>
          </a:p>
        </p:txBody>
      </p:sp>
      <p:sp>
        <p:nvSpPr>
          <p:cNvPr id="51" name="Dikdörtgen 50">
            <a:extLst>
              <a:ext uri="{FF2B5EF4-FFF2-40B4-BE49-F238E27FC236}">
                <a16:creationId xmlns:a16="http://schemas.microsoft.com/office/drawing/2014/main" id="{DEEA0302-C6E0-50F0-C61A-610755F424D8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60388" y="4359275"/>
            <a:ext cx="2079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CEC2610-CFE4-4ABA-9865-B6C38E12AD34}" type="datetime'''''''''''''4''''''''''''0'''''''''''''''''">
              <a:rPr lang="tr-TR" altLang="en-US" kern="1200" smtClean="0">
                <a:solidFill>
                  <a:srgbClr val="F89D56"/>
                </a:solidFill>
                <a:effectLst/>
                <a:latin typeface="Proxima Nova" panose="020B0604020202020204" charset="0"/>
                <a:sym typeface="Proxima Nova" panose="020B060402020202020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tr-TR" kern="1200">
              <a:solidFill>
                <a:srgbClr val="F89D56"/>
              </a:solidFill>
              <a:latin typeface="Proxima Nova" panose="020B0604020202020204" charset="0"/>
              <a:sym typeface="Proxima Nova" panose="020B0604020202020204" charset="0"/>
            </a:endParaRPr>
          </a:p>
        </p:txBody>
      </p:sp>
      <p:sp>
        <p:nvSpPr>
          <p:cNvPr id="406" name="Dikdörtgen 405">
            <a:extLst>
              <a:ext uri="{FF2B5EF4-FFF2-40B4-BE49-F238E27FC236}">
                <a16:creationId xmlns:a16="http://schemas.microsoft.com/office/drawing/2014/main" id="{8EDB8651-DC8C-8054-41F7-E10377A62A76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565150" y="3722688"/>
            <a:ext cx="203200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FF5CA7D-C691-446F-926A-D9652A8899B0}" type="datetime'''''''''4''''''''''''''''''''5'''''''''''''''''''''''''">
              <a:rPr lang="tr-TR" altLang="en-US" kern="1200" smtClean="0">
                <a:solidFill>
                  <a:srgbClr val="F89D56"/>
                </a:solidFill>
                <a:effectLst/>
                <a:latin typeface="Proxima Nova" panose="020B060402020202020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5</a:t>
            </a:fld>
            <a:endParaRPr lang="tr-TR" kern="1200">
              <a:solidFill>
                <a:srgbClr val="F89D56"/>
              </a:solidFill>
              <a:latin typeface="Proxima Nova" panose="020B0604020202020204" charset="0"/>
            </a:endParaRPr>
          </a:p>
        </p:txBody>
      </p:sp>
      <p:sp>
        <p:nvSpPr>
          <p:cNvPr id="53" name="Dikdörtgen 52">
            <a:extLst>
              <a:ext uri="{FF2B5EF4-FFF2-40B4-BE49-F238E27FC236}">
                <a16:creationId xmlns:a16="http://schemas.microsoft.com/office/drawing/2014/main" id="{C5C8F931-A477-7AED-7999-E80311843FC4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554038" y="3087688"/>
            <a:ext cx="21431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54B4FE8-BAE3-459F-8B9E-E130C54D0125}" type="datetime'''''''''''''5''''''''''''''''0'''''''''''''''''''''">
              <a:rPr lang="tr-TR" altLang="en-US" kern="1200" smtClean="0">
                <a:solidFill>
                  <a:srgbClr val="F89D56"/>
                </a:solidFill>
                <a:effectLst/>
                <a:latin typeface="Proxima Nova" panose="020B0604020202020204" charset="0"/>
                <a:sym typeface="Proxima Nova" panose="020B060402020202020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tr-TR" kern="1200">
              <a:solidFill>
                <a:srgbClr val="F89D56"/>
              </a:solidFill>
              <a:latin typeface="Proxima Nova" panose="020B0604020202020204" charset="0"/>
              <a:sym typeface="Proxima Nova" panose="020B0604020202020204" charset="0"/>
            </a:endParaRPr>
          </a:p>
        </p:txBody>
      </p:sp>
      <p:sp>
        <p:nvSpPr>
          <p:cNvPr id="407" name="Dikdörtgen 406">
            <a:extLst>
              <a:ext uri="{FF2B5EF4-FFF2-40B4-BE49-F238E27FC236}">
                <a16:creationId xmlns:a16="http://schemas.microsoft.com/office/drawing/2014/main" id="{787C4124-8E1E-26B6-A9C6-D204A404DAE5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558800" y="2451100"/>
            <a:ext cx="209550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4B8301E-0556-45CA-8BF0-691CB8DBD559}" type="datetime'''''''''5''''''''''5'''''''''''''''''''''">
              <a:rPr lang="tr-TR" altLang="en-US" kern="1200" smtClean="0">
                <a:solidFill>
                  <a:srgbClr val="F89D56"/>
                </a:solidFill>
                <a:effectLst/>
                <a:latin typeface="Proxima Nova" panose="020B060402020202020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5</a:t>
            </a:fld>
            <a:endParaRPr lang="tr-TR" kern="1200">
              <a:solidFill>
                <a:srgbClr val="F89D56"/>
              </a:solidFill>
              <a:latin typeface="Proxima Nova" panose="020B0604020202020204" charset="0"/>
            </a:endParaRPr>
          </a:p>
        </p:txBody>
      </p:sp>
      <p:sp>
        <p:nvSpPr>
          <p:cNvPr id="408" name="Dikdörtgen 407">
            <a:extLst>
              <a:ext uri="{FF2B5EF4-FFF2-40B4-BE49-F238E27FC236}">
                <a16:creationId xmlns:a16="http://schemas.microsoft.com/office/drawing/2014/main" id="{69109268-4134-6DD4-ECD4-40E6EB96B64E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554038" y="1814513"/>
            <a:ext cx="21431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76DDEF7-9465-443D-8EB7-463D71C6ADA1}" type="datetime'''''''''''''''''''''''''''''''''''''''''''''6''''''''''0'''">
              <a:rPr lang="tr-TR" altLang="en-US" kern="1200" smtClean="0">
                <a:solidFill>
                  <a:srgbClr val="F89D56"/>
                </a:solidFill>
                <a:effectLst/>
                <a:latin typeface="Proxima Nova" panose="020B060402020202020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0</a:t>
            </a:fld>
            <a:endParaRPr lang="tr-TR" kern="1200" dirty="0">
              <a:solidFill>
                <a:srgbClr val="F89D56"/>
              </a:solidFill>
              <a:latin typeface="Proxima Nova" panose="020B0604020202020204" charset="0"/>
            </a:endParaRPr>
          </a:p>
        </p:txBody>
      </p:sp>
      <p:cxnSp>
        <p:nvCxnSpPr>
          <p:cNvPr id="31" name="Düz Bağlayıcı 30">
            <a:extLst>
              <a:ext uri="{FF2B5EF4-FFF2-40B4-BE49-F238E27FC236}">
                <a16:creationId xmlns:a16="http://schemas.microsoft.com/office/drawing/2014/main" id="{90EE5BB2-ACA8-46E4-2BC0-F54A32E0463E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4537075" y="5816600"/>
            <a:ext cx="176213" cy="0"/>
          </a:xfrm>
          <a:prstGeom prst="line">
            <a:avLst/>
          </a:prstGeom>
          <a:ln w="38100" cap="rnd" cmpd="sng" algn="ctr">
            <a:solidFill>
              <a:srgbClr val="131737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Düz Bağlayıcı 255">
            <a:extLst>
              <a:ext uri="{FF2B5EF4-FFF2-40B4-BE49-F238E27FC236}">
                <a16:creationId xmlns:a16="http://schemas.microsoft.com/office/drawing/2014/main" id="{7DC18410-B0D4-1FEB-A4C8-787A85D1F50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5929313" y="5816600"/>
            <a:ext cx="176213" cy="0"/>
          </a:xfrm>
          <a:prstGeom prst="line">
            <a:avLst/>
          </a:prstGeom>
          <a:ln w="38100" cap="rnd" cmpd="sng" algn="ctr">
            <a:solidFill>
              <a:srgbClr val="F89D5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1" name="Rectangle 190">
            <a:extLst>
              <a:ext uri="{FF2B5EF4-FFF2-40B4-BE49-F238E27FC236}">
                <a16:creationId xmlns:a16="http://schemas.microsoft.com/office/drawing/2014/main" id="{98CA104F-5284-E29D-884F-FA3C56368098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783138" y="5732463"/>
            <a:ext cx="1025525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EF89F49-F813-4722-A2A9-5D7259E64B36}" type="datetime'''''''''O''''''''''r''''a''''n (S''''''''''''ağ Eksen)'''">
              <a:rPr lang="tr-TR" altLang="en-US" sz="1200" kern="1200" smtClean="0">
                <a:solidFill>
                  <a:schemeClr val="tx1"/>
                </a:solidFill>
                <a:sym typeface="Proxima Nova" panose="020B0604020202020204" charset="0"/>
              </a:rPr>
              <a:pPr/>
              <a:t>Oran (Sağ Eksen)</a:t>
            </a:fld>
            <a:endParaRPr lang="tr-TR" sz="1200" kern="1200" dirty="0">
              <a:solidFill>
                <a:schemeClr val="tx1"/>
              </a:solidFill>
              <a:sym typeface="Proxima Nova" panose="020B0604020202020204" charset="0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FBE5BA54-1E85-FCD2-D0A0-B01004D1B007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175375" y="5732463"/>
            <a:ext cx="1049338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1307ED1-8CC0-43AF-A247-024D3005BE36}" type="datetime'M''i''k''tar ''''''S''''ol'' ''''''E''''''ks''''''''''''e''n)'">
              <a:rPr lang="tr-TR" altLang="en-US" sz="1200" kern="1200" smtClean="0">
                <a:solidFill>
                  <a:schemeClr val="tx1"/>
                </a:solidFill>
                <a:sym typeface="Proxima Nova" panose="020B0604020202020204" charset="0"/>
              </a:rPr>
              <a:pPr/>
              <a:t>Miktar Sol Eksen)</a:t>
            </a:fld>
            <a:endParaRPr lang="tr-TR" sz="1200" kern="1200" dirty="0">
              <a:solidFill>
                <a:schemeClr val="tx1"/>
              </a:solidFill>
              <a:sym typeface="Proxima Nova" panose="020B0604020202020204" charset="0"/>
            </a:endParaRPr>
          </a:p>
        </p:txBody>
      </p:sp>
      <p:sp>
        <p:nvSpPr>
          <p:cNvPr id="179" name="Metin kutusu 178">
            <a:extLst>
              <a:ext uri="{FF2B5EF4-FFF2-40B4-BE49-F238E27FC236}">
                <a16:creationId xmlns:a16="http://schemas.microsoft.com/office/drawing/2014/main" id="{A6BFDF45-9E4B-55D0-1FFD-0C4EBA1721B0}"/>
              </a:ext>
            </a:extLst>
          </p:cNvPr>
          <p:cNvSpPr txBox="1"/>
          <p:nvPr/>
        </p:nvSpPr>
        <p:spPr>
          <a:xfrm>
            <a:off x="661194" y="6335268"/>
            <a:ext cx="455069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050" dirty="0">
                <a:latin typeface="Proxima Nova" panose="020B0604020202020204" charset="0"/>
              </a:rPr>
              <a:t>Kaynak: CEPII BACI, </a:t>
            </a:r>
            <a:r>
              <a:rPr lang="tr-TR" sz="1050" dirty="0" err="1">
                <a:latin typeface="Proxima Nova" panose="020B0604020202020204" charset="0"/>
              </a:rPr>
              <a:t>Fintegral</a:t>
            </a:r>
            <a:r>
              <a:rPr lang="tr-TR" sz="1050" dirty="0">
                <a:latin typeface="Proxima Nova" panose="020B0604020202020204" charset="0"/>
              </a:rPr>
              <a:t> Ekonomik Araştırmalar Birimi</a:t>
            </a:r>
          </a:p>
        </p:txBody>
      </p:sp>
      <p:sp>
        <p:nvSpPr>
          <p:cNvPr id="181" name="Metin kutusu 180">
            <a:extLst>
              <a:ext uri="{FF2B5EF4-FFF2-40B4-BE49-F238E27FC236}">
                <a16:creationId xmlns:a16="http://schemas.microsoft.com/office/drawing/2014/main" id="{BD1921F6-E480-7B56-3CFE-7ED7D6F4C800}"/>
              </a:ext>
            </a:extLst>
          </p:cNvPr>
          <p:cNvSpPr txBox="1"/>
          <p:nvPr/>
        </p:nvSpPr>
        <p:spPr>
          <a:xfrm>
            <a:off x="1612489" y="1184493"/>
            <a:ext cx="7944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800" b="1" dirty="0">
                <a:solidFill>
                  <a:srgbClr val="1E2B51"/>
                </a:solidFill>
                <a:latin typeface="Proxima Nova" panose="020B0604020202020204" charset="0"/>
              </a:rPr>
              <a:t>Türkiye’nin Dış Ticaretinde Tekstil Ürünleri, 2012-2021</a:t>
            </a:r>
            <a:endParaRPr lang="tr-TR" sz="1800" dirty="0">
              <a:solidFill>
                <a:srgbClr val="1E2B51"/>
              </a:solidFill>
              <a:latin typeface="Proxima Nova" panose="020B0604020202020204" charset="0"/>
            </a:endParaRPr>
          </a:p>
        </p:txBody>
      </p:sp>
      <p:sp>
        <p:nvSpPr>
          <p:cNvPr id="196" name="Dikdörtgen 195">
            <a:extLst>
              <a:ext uri="{FF2B5EF4-FFF2-40B4-BE49-F238E27FC236}">
                <a16:creationId xmlns:a16="http://schemas.microsoft.com/office/drawing/2014/main" id="{EF6B68E9-44DD-58D0-AD51-37AD6DC862AA}"/>
              </a:ext>
            </a:extLst>
          </p:cNvPr>
          <p:cNvSpPr/>
          <p:nvPr/>
        </p:nvSpPr>
        <p:spPr>
          <a:xfrm>
            <a:off x="7590939" y="646814"/>
            <a:ext cx="5977143" cy="90701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En üstteki kısmı mesaj vermek için kullanalım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4973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1F2D2B-B295-C400-8140-FC2373AC62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1EF1D3E-1048-1340-336A-C65B7E1858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25" imgH="426" progId="TCLayout.ActiveDocument.1">
                  <p:embed/>
                </p:oleObj>
              </mc:Choice>
              <mc:Fallback>
                <p:oleObj name="think-cell Slide" r:id="rId2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EF1D3E-1048-1340-336A-C65B7E1858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DAA70C-B7CD-C54E-228D-AA686CB13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Sektörün Türkiye Ticaretindeki Oranının Değişimi</a:t>
            </a:r>
          </a:p>
        </p:txBody>
      </p:sp>
      <p:graphicFrame>
        <p:nvGraphicFramePr>
          <p:cNvPr id="101" name="Chart 100">
            <a:extLst>
              <a:ext uri="{FF2B5EF4-FFF2-40B4-BE49-F238E27FC236}">
                <a16:creationId xmlns:a16="http://schemas.microsoft.com/office/drawing/2014/main" id="{02839C20-D7BB-B99B-BB9F-88524E67DA74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60400" y="1092200"/>
          <a:ext cx="10612438" cy="5038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8673807-45BE-0AB6-2802-DACC4E6A7B7E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0288588" y="2865438"/>
            <a:ext cx="0" cy="3619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14ACDC38-8B1B-5005-D07A-7B3459470774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8278813" y="2865438"/>
            <a:ext cx="20097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32D283E3-2279-F340-D612-BD6C538BE47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278813" y="28654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5DCC7AC2-0D66-7615-4CF4-B2CBA4C864B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63563" y="303847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8DD028C-1AA7-0627-0505-4775965A1FC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>
            <a:off x="742950" y="3114675"/>
            <a:ext cx="100488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9391EBD7-B61F-13FA-C293-9BCC3CB6696F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057275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5246B40-5E5F-3EB2-2B88-BBFD5A00697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062163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4BA0F0E-B1F0-855C-62D8-4ECF31640CB7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067050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1BF69C0-43BC-46B6-A1EA-83070FB6D063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071938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AB8B1B01-7E5B-64BC-7CDF-997DCF33C48F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076825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0B522F3F-0D06-244C-5F09-8ACB222EA59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081713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E4357C9-5AF1-7A8A-052B-B8AEBF51DAAA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086600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F7A280F-4054-48B8-D908-BE2D2B7B7386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091488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B304EB1-93BA-C6FA-C4E6-3951012933AD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096375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1BBA5428-D1F5-A3CB-D01B-33831D2A0A32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0101263" y="5983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0DBCD7E-3856-388C-062F-B49DC4057A04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331788" y="3008313"/>
            <a:ext cx="180975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267825C-0CA7-4FDA-96D3-4986B5B3A4AC}" type="datetime'''1''2'''''''''''''''''">
              <a:rPr lang="tr-TR" altLang="en-US" kern="1200" smtClean="0">
                <a:solidFill>
                  <a:schemeClr val="tx1"/>
                </a:solidFill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99BC0DB-8074-49A2-A9F7-C08D6359D4AD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686425" y="6338888"/>
            <a:ext cx="1635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B9D5298-61FB-2136-1384-327ABF546154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1291888" y="1190625"/>
            <a:ext cx="212725" cy="48418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Türkiye’deki Tekstil Sektörünün Toplam Ticaret Hacmindeki Oranı (%)</a:t>
            </a:r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95B70F16-2E1D-21B4-E352-CF7451C0E783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939213" y="2714625"/>
            <a:ext cx="690563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 dirty="0">
                <a:solidFill>
                  <a:schemeClr val="tx1"/>
                </a:solidFill>
                <a:effectLst/>
              </a:rPr>
              <a:t>-</a:t>
            </a:r>
            <a:fld id="{59FD62AF-C895-4B77-8BFB-5EA57B13B425}" type="datetime'''''''''7'''''''''''''',2''''''9%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7,29%</a:t>
            </a:fld>
            <a:endParaRPr lang="tr-TR" b="1" kern="1200" dirty="0">
              <a:solidFill>
                <a:schemeClr val="tx1"/>
              </a:solidFill>
            </a:endParaRP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3EE73A1C-AD2C-BAA6-021F-7381F4342E1D}"/>
              </a:ext>
            </a:extLst>
          </p:cNvPr>
          <p:cNvSpPr/>
          <p:nvPr/>
        </p:nvSpPr>
        <p:spPr>
          <a:xfrm>
            <a:off x="6435171" y="274710"/>
            <a:ext cx="5977143" cy="212393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Bu grafik bize ne anlatıyor??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Pandemi etkisi ise bar grafik olması daha iyi olur.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Resmi renkleri kullanalım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Kaynakça yok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Başlıkta yıllar yok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Ezel’in kör annesi Meliha’ya göstersek kadın kalp krizi geçirir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41238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5E891C-CBAB-7F40-F189-1B8919E368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471CF8A-CAF2-6EBA-5368-90434991C2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7992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6" progId="TCLayout.ActiveDocument.1">
                  <p:embed/>
                </p:oleObj>
              </mc:Choice>
              <mc:Fallback>
                <p:oleObj name="think-cell Slide" r:id="rId14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71CF8A-CAF2-6EBA-5368-90434991C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AA2C03-77E5-E9FF-42FB-2456EE8F4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sz="2000" b="1" dirty="0">
                <a:solidFill>
                  <a:srgbClr val="1E2B51"/>
                </a:solidFill>
                <a:latin typeface="Proxima Nova" panose="020B0604020202020204" charset="0"/>
              </a:rPr>
              <a:t>Tekstil ürünlerinin dış ticaretteki oranı pandemi sonrasında duraksıyor</a:t>
            </a:r>
            <a:endParaRPr lang="tr-TR" b="1" dirty="0"/>
          </a:p>
        </p:txBody>
      </p:sp>
      <p:graphicFrame>
        <p:nvGraphicFramePr>
          <p:cNvPr id="70" name="Chart 3">
            <a:extLst>
              <a:ext uri="{FF2B5EF4-FFF2-40B4-BE49-F238E27FC236}">
                <a16:creationId xmlns:a16="http://schemas.microsoft.com/office/drawing/2014/main" id="{41ED2FA1-1A5B-3632-AADB-41AAA6A923B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476828"/>
              </p:ext>
            </p:extLst>
          </p:nvPr>
        </p:nvGraphicFramePr>
        <p:xfrm>
          <a:off x="987425" y="1905000"/>
          <a:ext cx="10213975" cy="3832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3E9F1F75-4021-E92C-3FB5-3259B6E56D9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384300" y="548957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98C4C45-3695-8C37-D5DF-7A406FD7B0F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389188" y="548957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2FA9605-EB2E-6CD9-EE02-3C1527136C5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394075" y="548957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398599D-315C-1B83-0AC7-A49EF39A88F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398963" y="548957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17A7B25-7BDD-13B5-300B-66A0DCE222F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403850" y="548957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1ACAB09-F112-8BB0-41D7-61A6DB96892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408738" y="548957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BFC80D0-9BA7-5A34-05AC-5195C5B084B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413625" y="548957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3A26D38-7D44-3AB5-F264-76C525055AB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418513" y="548957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6085410-C76B-EBD9-A398-9527CC61790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9423400" y="548957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44543A5-1D2D-7E42-A7E9-0194FAFF5FF9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0428288" y="548957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5C8ADDD8-FD38-1FD5-0EDE-0D8546635FA7}"/>
              </a:ext>
            </a:extLst>
          </p:cNvPr>
          <p:cNvSpPr/>
          <p:nvPr/>
        </p:nvSpPr>
        <p:spPr>
          <a:xfrm>
            <a:off x="6591684" y="-105541"/>
            <a:ext cx="5977143" cy="212393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>
                <a:solidFill>
                  <a:schemeClr val="tx1"/>
                </a:solidFill>
              </a:rPr>
              <a:t>Bu grafik bize ne anlatıyor??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Pandemi etkisi ise bar grafik olması daha iyi olur.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Resmi renkleri kullanalım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Kaynakça yok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Başlıkta yıllar yok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Ezel’in kör annesi Meliha’ya göstersek kadın kalp krizi geçirir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59" name="Metin kutusu 58">
            <a:extLst>
              <a:ext uri="{FF2B5EF4-FFF2-40B4-BE49-F238E27FC236}">
                <a16:creationId xmlns:a16="http://schemas.microsoft.com/office/drawing/2014/main" id="{E194783B-4E4F-499A-0009-84661125E71E}"/>
              </a:ext>
            </a:extLst>
          </p:cNvPr>
          <p:cNvSpPr txBox="1"/>
          <p:nvPr/>
        </p:nvSpPr>
        <p:spPr>
          <a:xfrm>
            <a:off x="1950729" y="1505176"/>
            <a:ext cx="7944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800" b="1" dirty="0">
                <a:solidFill>
                  <a:srgbClr val="1E2B51"/>
                </a:solidFill>
                <a:latin typeface="Proxima Nova" panose="020B0604020202020204" charset="0"/>
              </a:rPr>
              <a:t>Türkiye’nin Dış Ticaretinde Tekstil Ürünlerinin Oranı, %, 2012-2021</a:t>
            </a:r>
            <a:endParaRPr lang="tr-TR" sz="1800" dirty="0">
              <a:solidFill>
                <a:srgbClr val="1E2B51"/>
              </a:solidFill>
              <a:latin typeface="Proxima Nova" panose="020B0604020202020204" charset="0"/>
            </a:endParaRPr>
          </a:p>
        </p:txBody>
      </p:sp>
      <p:sp>
        <p:nvSpPr>
          <p:cNvPr id="71" name="Metin kutusu 70">
            <a:extLst>
              <a:ext uri="{FF2B5EF4-FFF2-40B4-BE49-F238E27FC236}">
                <a16:creationId xmlns:a16="http://schemas.microsoft.com/office/drawing/2014/main" id="{203051F1-3E97-0303-9CF2-F2C80E0A8F78}"/>
              </a:ext>
            </a:extLst>
          </p:cNvPr>
          <p:cNvSpPr txBox="1"/>
          <p:nvPr/>
        </p:nvSpPr>
        <p:spPr>
          <a:xfrm>
            <a:off x="661194" y="6335268"/>
            <a:ext cx="455069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050" dirty="0">
                <a:latin typeface="Proxima Nova" panose="020B0604020202020204" charset="0"/>
              </a:rPr>
              <a:t>Kaynak: CEPII BACI, </a:t>
            </a:r>
            <a:r>
              <a:rPr lang="tr-TR" sz="1050" dirty="0" err="1">
                <a:latin typeface="Proxima Nova" panose="020B0604020202020204" charset="0"/>
              </a:rPr>
              <a:t>Fintegral</a:t>
            </a:r>
            <a:r>
              <a:rPr lang="tr-TR" sz="1050" dirty="0">
                <a:latin typeface="Proxima Nova" panose="020B0604020202020204" charset="0"/>
              </a:rPr>
              <a:t> Ekonomik Araştırmalar Birimi</a:t>
            </a:r>
          </a:p>
        </p:txBody>
      </p:sp>
    </p:spTree>
    <p:extLst>
      <p:ext uri="{BB962C8B-B14F-4D97-AF65-F5344CB8AC3E}">
        <p14:creationId xmlns:p14="http://schemas.microsoft.com/office/powerpoint/2010/main" val="5940203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4DF1CA-B54C-D124-6945-B8B5B99912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A0D5A41-EF8F-6BFD-C51C-F00BED6543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3115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425" imgH="426" progId="TCLayout.ActiveDocument.1">
                  <p:embed/>
                </p:oleObj>
              </mc:Choice>
              <mc:Fallback>
                <p:oleObj name="think-cell Slide" r:id="rId43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0D5A41-EF8F-6BFD-C51C-F00BED654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C1AABC-6CC5-02E9-F3DD-F4BFD4667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b="1" dirty="0"/>
              <a:t>Türkiye’deki Tekstil Sektörünün İthalat ve İhracatta Yıllar İçindeki Değişimi</a:t>
            </a:r>
          </a:p>
        </p:txBody>
      </p:sp>
      <p:graphicFrame>
        <p:nvGraphicFramePr>
          <p:cNvPr id="247" name="Chart 246">
            <a:extLst>
              <a:ext uri="{FF2B5EF4-FFF2-40B4-BE49-F238E27FC236}">
                <a16:creationId xmlns:a16="http://schemas.microsoft.com/office/drawing/2014/main" id="{A2F63C4F-924C-4EA7-71F0-1874425E4D3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0477708"/>
              </p:ext>
            </p:extLst>
          </p:nvPr>
        </p:nvGraphicFramePr>
        <p:xfrm>
          <a:off x="471488" y="1160463"/>
          <a:ext cx="11063287" cy="237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C39BE704-5FFB-187F-5910-7F4F654B6F7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0528300" y="1644649"/>
            <a:ext cx="0" cy="2413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50858670-0D3D-06A7-E6EA-75749847BA4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8428039" y="1644650"/>
            <a:ext cx="21002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8F65613B-5AF8-3BA6-1A03-D7322B43DC9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428038" y="1644650"/>
            <a:ext cx="0" cy="1984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963CB4EA-6FD1-6595-17B5-AD6C0AF3750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74650" y="175736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F13D739-EF78-B566-CDE5-78E461F77BC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>
            <a:off x="554038" y="1833563"/>
            <a:ext cx="104997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2041EE66-3192-5C0D-73B7-1B169358CDBF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722938" y="3743325"/>
            <a:ext cx="163513" cy="425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Yıl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A2D5528-DEEF-B2C1-6E84-9779BD3A847E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90588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C58AB59-612A-7359-6DC7-B2BC85FBD01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941513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9F50942-6E48-65F3-53A8-70AB3D64670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990850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DB2F648-646E-5E64-2D72-28E258F690B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4041775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C7DD847-AAF7-307F-362A-7587D75E94E9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091113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D35223A-6CFD-4D47-AF31-AC8E6BD6DD9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140450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667CF5B-4640-ECB4-CA46-0BE16959D8D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7191375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6BF7F31-E3E7-52EF-1D77-3505E28AD867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240713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AA8E9E9-8999-81A0-9424-068D977BF374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291638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787DA9C-0DA0-3301-B0C0-67576D5DD97C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0340975" y="33877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829F8D0-B922-9926-7BF3-B89D3B2A7843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42875" y="1727200"/>
            <a:ext cx="180975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758CF26-C04C-467A-A851-DC4031416A21}" type="datetime'''''''''''''''''''''''''''''''''1''''''''''9'''''''">
              <a:rPr lang="tr-TR" altLang="en-US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44A8513F-8BCC-407C-263A-A5D746493163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1553825" y="963613"/>
            <a:ext cx="122238" cy="27686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800" kern="1200" dirty="0">
                <a:solidFill>
                  <a:schemeClr val="tx1"/>
                </a:solidFill>
                <a:effectLst/>
              </a:rPr>
              <a:t>Türkiye’deki Tekstil İhracatının Toplam İhracat Hacmindeki Oranı (%)</a:t>
            </a:r>
            <a:endParaRPr lang="tr-TR" sz="800" kern="1200" dirty="0">
              <a:solidFill>
                <a:schemeClr val="tx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47F4AF3A-7808-79F4-BB30-459383D5E01A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132888" y="1493838"/>
            <a:ext cx="690563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>
                <a:solidFill>
                  <a:schemeClr val="tx1"/>
                </a:solidFill>
                <a:effectLst/>
              </a:rPr>
              <a:t>-</a:t>
            </a:r>
            <a:fld id="{ABF61C28-BFB6-48EC-986E-72F1AF1E888E}" type="datetime'''''2'''',9''''''''''''''6''''''''''''''%''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2,96%</a:t>
            </a:fld>
            <a:endParaRPr lang="tr-TR" b="1" kern="1200" dirty="0">
              <a:solidFill>
                <a:schemeClr val="tx1"/>
              </a:solidFill>
            </a:endParaRPr>
          </a:p>
        </p:txBody>
      </p:sp>
      <p:graphicFrame>
        <p:nvGraphicFramePr>
          <p:cNvPr id="241" name="Chart 240">
            <a:extLst>
              <a:ext uri="{FF2B5EF4-FFF2-40B4-BE49-F238E27FC236}">
                <a16:creationId xmlns:a16="http://schemas.microsoft.com/office/drawing/2014/main" id="{A8720B32-5771-494F-8C1F-D767FB1A545F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556225671"/>
              </p:ext>
            </p:extLst>
          </p:nvPr>
        </p:nvGraphicFramePr>
        <p:xfrm>
          <a:off x="471488" y="3771900"/>
          <a:ext cx="11063287" cy="240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BF9F0F0-5E0E-3E90-6C04-8F40E74B5739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V="1">
            <a:off x="10528300" y="5264151"/>
            <a:ext cx="0" cy="2317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086B08D-D26E-5E0F-CAF9-066802FFF212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 flipH="1">
            <a:off x="8428039" y="5264150"/>
            <a:ext cx="21002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112531E-8694-9309-02AB-DD489E08238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8428038" y="52641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Arrow: Right 9">
            <a:extLst>
              <a:ext uri="{FF2B5EF4-FFF2-40B4-BE49-F238E27FC236}">
                <a16:creationId xmlns:a16="http://schemas.microsoft.com/office/drawing/2014/main" id="{A7665FFF-CB0F-D826-8274-2313E34C3E72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374650" y="538321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4D0DF3A-A592-163F-99A6-C4F3F11AB575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auto">
          <a:xfrm flipH="1">
            <a:off x="554038" y="5459413"/>
            <a:ext cx="104997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36FE4F18-5530-50D0-4B28-9EABA9DCA7D4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722938" y="6386513"/>
            <a:ext cx="1635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kern="1200" dirty="0">
                <a:solidFill>
                  <a:schemeClr val="tx1"/>
                </a:solidFill>
                <a:effectLst/>
              </a:rPr>
              <a:t>Yı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703991E-76BA-0BD3-C28D-83BFD21E90C1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890588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7357094-F0A5-40F7-9C37-191D26758A1A}" type="datetime'''2''''''''''''''''''''''''''''0''''''''''''''12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6D23D93-1A2E-C2AD-71BF-5B05361FA0A3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941513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CB3C23-C844-4CBC-B494-C9B257EE554D}" type="datetime'''''''''''''''''''''20''1''''''''''''3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797DBF-984A-4D62-CB84-094F31E5CB8D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2990850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59D771D-8651-4AFA-B096-2BCF7EAB1CD9}" type="datetime'''''''''''''''''''''''''''''2''''''''''0''''''''''14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6E255B-F3F0-9F81-C4EC-FC4C8C158940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4041775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CEE2AD-E184-4C0B-AFE7-EF5F687CFA6E}" type="datetime'''''''''''2''''''''''''''''''''''''''''''0''1''''5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9A1B5B-61CE-47B0-3793-6CECC6B83F6C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5091113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1D923C6-735B-4B42-9726-FCA503556A41}" type="datetime'''20''''''''''''''''''''''''''''''1''''''6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5AC2EB3-1B3F-2C00-C036-5AAAA817EC9F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6140450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12C76F-2322-478C-B7B4-AF0F3E13ADE5}" type="datetime'''''''''''''''''''''''''''''''2''0''''1''''''''''''7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0FB4F58-59F9-6476-C62F-1FAB78D9E1BC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7191375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AE4D03C-6354-4765-B1C4-89C1D398542E}" type="datetime'''''''2''''''''''''''''''''''''0''''''''''''''1''8''''''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EDF7D6A-323B-07E5-878B-2E9D0023DF2B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8240713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3C5201-69CC-4C8E-8D2E-10E83DB3BE70}" type="datetime'''''''''2''0''''''''''''''1''''''''''''''''''9''''''''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FB323DD-5B43-6402-CADA-089F87A996F9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9291638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01F9522-6FB2-4A20-874A-053EDB3D6808}" type="datetime'''''''''''''''''2''0''''''''''''''2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FCD7163-CB20-5ED9-3492-6AB049C86535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10340975" y="60309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C688BA-8D22-475A-9D58-F582636BC819}" type="datetime'''''202''''''''''''''''''''''''''''''''''''''''''''''''''''1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313BAE1-796D-B74D-B914-FF1A48EFFF69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233363" y="5353050"/>
            <a:ext cx="904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D08D6AE-38B9-48A3-BF43-ADD77493B5A4}" type="datetime'''''''''''''''''''''''''''''''''''''6'''''''''''''''''">
              <a:rPr lang="tr-TR" altLang="en-US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F0A9E10A-8029-E669-E4C9-D5A5C7918E4C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1553825" y="3613150"/>
            <a:ext cx="244475" cy="27241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sz="800" kern="1200" dirty="0">
                <a:solidFill>
                  <a:schemeClr val="tx1"/>
                </a:solidFill>
                <a:effectLst/>
              </a:rPr>
              <a:t>Türkiye’deki Tekstil İthalatının Toplam İthalat Hacmindeki Oranı (%)</a:t>
            </a:r>
            <a:endParaRPr lang="tr-TR" sz="800" kern="1200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tr-TR" sz="800" kern="1200" dirty="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6208E3D-24B5-F93B-F4E2-EE44827629A9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9069388" y="5113338"/>
            <a:ext cx="815975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>
                <a:solidFill>
                  <a:schemeClr val="tx1"/>
                </a:solidFill>
                <a:effectLst/>
              </a:rPr>
              <a:t>-</a:t>
            </a:r>
            <a:fld id="{4B9EF8AB-67EC-4690-A658-0BD9D335FA27}" type="datetime'''''''''''''''1''''''''''5'',''''2''6''''''''%''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15,26%</a:t>
            </a:fld>
            <a:endParaRPr lang="tr-TR" b="1" kern="1200" dirty="0">
              <a:solidFill>
                <a:schemeClr val="tx1"/>
              </a:solidFill>
            </a:endParaRP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2DA5940D-3FB3-F4BE-AAFD-F505D42C182A}"/>
              </a:ext>
            </a:extLst>
          </p:cNvPr>
          <p:cNvSpPr/>
          <p:nvPr/>
        </p:nvSpPr>
        <p:spPr>
          <a:xfrm>
            <a:off x="9429443" y="536951"/>
            <a:ext cx="5977143" cy="2123931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800" b="1" dirty="0" err="1">
                <a:solidFill>
                  <a:schemeClr val="tx1"/>
                </a:solidFill>
              </a:rPr>
              <a:t>Repetetive</a:t>
            </a:r>
            <a:r>
              <a:rPr lang="tr-TR" sz="1800" b="1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tr-TR" sz="1800" b="1" dirty="0">
                <a:solidFill>
                  <a:schemeClr val="tx1"/>
                </a:solidFill>
              </a:rPr>
              <a:t>İhracat ve İthalatı yan yana iki bar grafikle versen?</a:t>
            </a:r>
          </a:p>
          <a:p>
            <a:pPr algn="ctr"/>
            <a:r>
              <a:rPr lang="en-US" sz="2000" b="1" dirty="0" err="1">
                <a:solidFill>
                  <a:schemeClr val="tx1"/>
                </a:solidFill>
              </a:rPr>
              <a:t>Resmi</a:t>
            </a:r>
            <a:r>
              <a:rPr lang="en-US" sz="2000" b="1" dirty="0">
                <a:solidFill>
                  <a:schemeClr val="tx1"/>
                </a:solidFill>
              </a:rPr>
              <a:t> </a:t>
            </a:r>
            <a:r>
              <a:rPr lang="en-US" sz="2000" b="1" dirty="0" err="1">
                <a:solidFill>
                  <a:schemeClr val="tx1"/>
                </a:solidFill>
              </a:rPr>
              <a:t>renkleri</a:t>
            </a:r>
            <a:r>
              <a:rPr lang="en-US" sz="2000" b="1" dirty="0">
                <a:solidFill>
                  <a:schemeClr val="tx1"/>
                </a:solidFill>
              </a:rPr>
              <a:t> </a:t>
            </a:r>
            <a:r>
              <a:rPr lang="en-US" sz="2000" b="1" dirty="0" err="1">
                <a:solidFill>
                  <a:schemeClr val="tx1"/>
                </a:solidFill>
              </a:rPr>
              <a:t>kullanalım</a:t>
            </a:r>
            <a:endParaRPr lang="en-US" sz="2000" b="1" dirty="0">
              <a:solidFill>
                <a:schemeClr val="tx1"/>
              </a:solidFill>
            </a:endParaRPr>
          </a:p>
          <a:p>
            <a:pPr algn="ctr"/>
            <a:r>
              <a:rPr lang="en-US" sz="2000" b="1" dirty="0" err="1">
                <a:solidFill>
                  <a:schemeClr val="tx1"/>
                </a:solidFill>
              </a:rPr>
              <a:t>Kaynakça</a:t>
            </a:r>
            <a:r>
              <a:rPr lang="en-US" sz="2000" b="1" dirty="0">
                <a:solidFill>
                  <a:schemeClr val="tx1"/>
                </a:solidFill>
              </a:rPr>
              <a:t> yok</a:t>
            </a:r>
          </a:p>
          <a:p>
            <a:pPr algn="ctr"/>
            <a:r>
              <a:rPr lang="en-US" sz="2000" b="1" dirty="0" err="1">
                <a:solidFill>
                  <a:schemeClr val="tx1"/>
                </a:solidFill>
              </a:rPr>
              <a:t>Başlıkta</a:t>
            </a:r>
            <a:r>
              <a:rPr lang="en-US" sz="2000" b="1" dirty="0">
                <a:solidFill>
                  <a:schemeClr val="tx1"/>
                </a:solidFill>
              </a:rPr>
              <a:t> </a:t>
            </a:r>
            <a:r>
              <a:rPr lang="en-US" sz="2000" b="1" dirty="0" err="1">
                <a:solidFill>
                  <a:schemeClr val="tx1"/>
                </a:solidFill>
              </a:rPr>
              <a:t>yıllar</a:t>
            </a:r>
            <a:r>
              <a:rPr lang="en-US" sz="2000" b="1" dirty="0">
                <a:solidFill>
                  <a:schemeClr val="tx1"/>
                </a:solidFill>
              </a:rPr>
              <a:t> yok</a:t>
            </a:r>
          </a:p>
          <a:p>
            <a:pPr algn="ctr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2439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2.38509999999999999787E+00&quot;&gt;&lt;m_msothmcolidx val=&quot;0&quot;/&gt;&lt;m_rgb r=&quot;F8&quot; g=&quot;9D&quot; b=&quot;56&quot;/&gt;&lt;/elem&gt;&lt;elem m_fUsage=&quot;2.30048999999999992383E+00&quot;&gt;&lt;m_msothmcolidx val=&quot;0&quot;/&gt;&lt;m_rgb r=&quot;13&quot; g=&quot;17&quot; b=&quot;37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AV9fG9PHcGfvPVAYKJ1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TLOIx_6mHtLqBhnn6o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kvn4zJk.phqd85eEIZc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JFne05a09488U6EPuAH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1DPjCA8zxpNEG4kTAt5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iGR8q5j9g8gyZq0Jq8z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n9mp2n9kr0MngZwY.P_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7j6eN_Av1hTmGYCwjMW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9FZixthsFKRzvxkINE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2wpCaxRHEptNaWjsu8_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pP373byl.A2hxUu61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Hc_xtp_reIc3jxERn5y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u7reDMKC_Rz1sLCExaA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4jU5rC_4unPNYm7FFg5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iL_HJdugnF04h_NCwdE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F0_h6czwxbV6cgKPFu_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v7K2GR0jkqAYOKrZ2Aw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nMuwJosEW7X3ci02Oe4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aR4j5IRQghwxJg02kY5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wIIFIcbZrxZT6DqlNW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rcq578OBG23kDk8VFX9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FPqxVkfePFG271N9qtb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E6flq6VqS47t0el0dFa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GUh9pocVFBdjUTakzO.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BARcxo3fZGbyx0r7eTF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5yqyFBb8fbnFn1LmuHS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vOplooLJqEOSqUf8xV.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M7TMyhPGXkxPuDn4Vks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njZvKr_jbAJl9ozjdqO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3pAKqFnOiwpZkUwzX8X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qmEijK45VJom.JATJdP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0sBa5qeZixrrlq.XiUu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I8Xkx32GorRt6qxpNs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uSA2wa02O3Wg7UI3pRd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CBa6BGZyqcUfimcEzjl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l5kXhfDjNBzST8ijCK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5sd_tubvhcm892ZMwKs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nMf7mjT4VZjHZEJz7W3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WzfZ7dmIDKhyz5KPxyj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u0HGI6LQhvXIcShBjg0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TLOIx_6mHtLqBhnn6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kvn4zJk.phqd85eEIZ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AFrbiTcHfbuNgz5UGVb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JFne05a09488U6EPuAH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YwwDbgsiushhMyRG3.j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BBP87oUV7.vWku7N3i1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PgsQReP6i3CVQ_PdyGj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3QxS7bwUvGeEVatmrep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4JcFwwIcArJJulHoNKE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a1me5ZYNFdfoQe2Dgb9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pP373byl.A2hxUu61J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u7reDMKC_Rz1sLCExaA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h..2n4voXEjhslVdXh0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_yRJk9f05VneUxAEiw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HPNmMlyGTKSJh5ExkBu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PznU4V1vL4fcoZYqga8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X8ko2ieoMY9Pa5n9STm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FYWPL.0VYdrbFnPEpf5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pK.9Evj7cp4c7xlje2H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4jU5rC_4unPNYm7FFg5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iL_HJdugnF04h_NCwdE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F0_h6czwxbV6cgKPFu_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v7K2GR0jkqAYOKrZ2Aw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q1XMEMUOpZRqxoPw8lr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wIIFIcbZrxZT6DqlN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vVbDeiaczAUvcSP_XJe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rcq578OBG23kDk8VFX9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FPqxVkfePFG271N9qtb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GUh9pocVFBdjUTakzO.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BARcxo3fZGbyx0r7eTF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5yqyFBb8fbnFn1LmuHS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vOplooLJqEOSqUf8xV.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M7TMyhPGXkxPuDn4Vks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njZvKr_jbAJl9ozjdqO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3pAKqFnOiwpZkUwzX8X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qmEijK45VJom.JATJd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FN8Q7dIiT5w873il8u7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GJoToceQRVg8x3hFsa0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LR2Vr6_WYVUQtcOuLPs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I8Xkx32GorRt6qxpNsO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TLOIx_6mHtLqBhnn6o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kvn4zJk.phqd85eEIZc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JFne05a09488U6EPuAH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YwwDbgsiushhMyRG3.j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BBP87oUV7.vWku7N3i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6.KtZSE6jbuhWwivs5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T_g9B29e9JjjpSVGvjF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oBI7m1W1U2Ateu49JRN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3QxS7bwUvGeEVatmrep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pP373byl.A2hxUu61J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ePJf97vbI.7o9juyIqw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zGEhJUwNpgxr3htCp7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N0TXeyIQcPnbb8O1luZ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GTFTMjd3tR4IBIyRYT.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RDfY0KTIieLfEwnkm3x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FAjjQGfLDjqV3bYOGf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vz7xjkEvir3FtoiqeWa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klelM1ss2hEeac2f.Cc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mnK9G.mQ6hP6Q6SpZQ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4rtHv4MHg0psO391g38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DlNud8vgR8zbRv.nYTS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hfggc.z7Uqz7PtC98cp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doguhD4BRUKTdRq8cK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h0KGJBRBEDyoF2czZmn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dEPynSS1y8IUoTNEuZW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4uN09XNxupWZafjov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wNlzdMefNiMY9iNxlsG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dgvH0FxFy3hVlDVXuU_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ZVFJJNzF1O8vJAYywLY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iH_62gSGApGrU1xucIM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sbkCMRNnagWAuqZ7AHy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M4yT1V4EWSSxN8iXxQV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RMXNyn9NPLjIv.G0sGS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CO6lH3gW.c6tRa03hw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4vifYqRp6K1NAEO._JB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VPjaFfjZ4fM_zZDEYD1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c67o3DPPHIYs553_BMo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6_YPc3EkwT7ZFFvCxO4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mKH5UcHsjXqBv.nBOtB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GAtR0zBiOwy2s_y347g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vbYpg31rf9blQv6vpXX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Q9.w33l7MP_aGvwlvL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bWBjUorzfdPFt2tMV87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7XjqnjbMeO.JWCEDThQ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m7_f5ubyVax.OKkzL8a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TxxbZgpVcU2x4aEshq9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Qf2xF5cFWlBTeIcC0y9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UZQFsQqE_dzcH1xVnOE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ap5zvZw9atshsM7dnYr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OnqBtVCt7XBd4MqGUX0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frvwjjtEpNb8Mq_TMI7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ChYtIyXG889T6ecQUHA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9PWVvIpobmbNVEzDfq6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32Ekv3mfnVp4nSSyjbY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6Ni0eN84FFOJNySeLKw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AKGpmSV00wwLfO4ksJ9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qJwMYxm7MOCM9glH1gZ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1mfDGPKOjO8kcji48m_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pgloJamoZwWrU2LziJt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B5yqvnRuupcSwbpe1L3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f5Ej5hYvd4EjAt17wwM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ZDy_y5EfcKIbFLkqFq7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Pjvskj_Kd2hq.FSUxzE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bdvHzqaQZamBiA_zLv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HgFZqUPlapzI_iqlgPN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NFuSmE3MDgWyr4LZNRS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EO6_vPUktsV9b8jYhTt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gFU90PmGMVutJJS8Q29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ZuLaOwTT_dThrD1xUDt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C_V_NkkW1rsqCE.UtxH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lOjJ7MENyew_u9qPkK_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pHm.TljMctDFJTl_RLw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9LkkTU5sCU5Sw3AN2LV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1sxr.qbUH9.x94cRa18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4rtHv4MHg0psO391g38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9wEFxnFqs2odhSVlEEi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zGEhJUwNpgxr3htCp7U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iVp9n8OGny11Z5.wca9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FNimpAr.HGQ92Dch2_p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L5Z7GBPg9r7cvdQFQgE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qkeVwYUbHstJaiiuBxM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Tw3J95Sro_hxz7O0agr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UA.BlgihyA_ZieQoxtY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FvlWoHdxQVih.DtveP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P7LrzphRAczptX52ISM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8iQjlcQmNEmTEgHEivC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ypYUDOanjSmOqB1dwEa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b7bIvm.ApANaZJ9.jUL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kbaka4JIWNmsmfJwks_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NEpKfnO8Ljceu.3vO4O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Sroo15AXpndWAI3HU6r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dEPynSS1y8IUoTNEuZW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4uN09XNxupWZafjovc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wNlzdMefNiMY9iNxlsG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6_YPc3EkwT7ZFFvCxO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tt6VFfDaCqeDvtqIpd0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VPjaFfjZ4fM_zZDEYD1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CO6lH3gW.c6tRa03hwm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dgvH0FxFy3hVlDVXuU_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ZVFJJNzF1O8vJAYywLY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iH_62gSGApGrU1xucIM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sbkCMRNnagWAuqZ7AHy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M4yT1V4EWSSxN8iXxQV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tyMgefoBX3u6Far.zAd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dK.AEdTOk_zf0fDQpXR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D1Xk2ARCfYUQNUkTfQS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1xzayn1Zlq5xlFMk9Vy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u0XxyhbiNuvWLyHyr85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_piFu75Bq21vFY2LhDM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c67o3DPPHIYs553_BMo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_U4QyWaoKKSM2tUycds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hfggc.z7Uqz7PtC98cp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doguhD4BRUKTdRq8cKl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4OtuGipgfKXmO5sWmQk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btK3Alc3N9MR1kXme9l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hfggc.z7Uqz7PtC98cp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FHBXoMItlY7LxCYb6vb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xNqgdux2TX2dIooFVsi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Sl_ugEUzmFNZwik9Qa3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7LDItt5_xyywHnxChcb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9LkkTU5sCU5Sw3AN2LV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UA.BlgihyA_ZieQoxt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dG__P3RsAW_tATiCwJd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uI6jJqEOqby9BxJ.YZf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02uENAuV9v1KcrdUkY9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4rtHv4MHg0psO391g38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ad9nXYadtbbNmfFHqKM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9wEFxnFqs2odhSVlEEi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zGEhJUwNpgxr3htCp7U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FvlWoHdxQVih.DtvePV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NEpKfnO8Ljceu.3vO4O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iVp9n8OGny11Z5.wca9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Tw3J95Sro_hxz7O0agr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fLdz75YzztwiNu1ony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ypYUDOanjSmOqB1dwEa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WUhfB57FjXyY4JXhZk0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XtnKsgK.AESfVh3Qg6_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hfggc.z7Uqz7PtC98cp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doguhD4BRUKTdRq8cKl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Sroo15AXpndWAI3HU6r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dEPynSS1y8IUoTNEuZW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4uN09XNxupWZafjovc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wNlzdMefNiMY9iNxls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7u959Umc9BTnF.gav_x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6_YPc3EkwT7ZFFvCxO4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VPjaFfjZ4fM_zZDEYD1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CO6lH3gW.c6tRa03hwm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c67o3DPPHIYs553_BMo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dgvH0FxFy3hVlDVXuU_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ph00x4QMwnNogdZ0l6s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ZVFJJNzF1O8vJAYywLY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iH_62gSGApGrU1xucIM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tyMgefoBX3u6Far.zAd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D1Xk2ARCfYUQNUkTfQS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1xzayn1Zlq5xlFMk9Vy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sbkCMRNnagWAuqZ7AHy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u0XxyhbiNuvWLyHyr85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HZ8JDu5wkgabTmnVElV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WUmF63Z8gdinsShR0D_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M4yT1V4EWSSxN8iXxQV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7j2vCo3BsECIgksVIEO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7eR8bLruZnrEtnnM.vb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8heCgzRfJdpiqVBgAZP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02qWLLD9gexPcWNgMNf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budEcD27JfvhST.HNb3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wcgU6zjNCtt4rn4DoX.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WJeS_WLpxSne.jbQj1f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LQixu2BjjDxwrhPTdab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CGiXMdmBwYMenI3SAfO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G.a4cV56e1Kffcq0H3c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sl3bW_zG0BEWVEoYYKa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YHpv5fEWmMc0ADMs23s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CGUajzweYMdmaUPxrkV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yXBaqYlPFmfidz7ZMkv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90UkYpUk.0zbegfBx8d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jsk3rP05PsCHUoVY97t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dISY7HvqyFPFQCpeql6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42bnmQa4Giz5JVm0M8V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eznrUnY61odyUiGgsFP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fjPRHliLeEmTZ87e6a0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mEGIXGAe8wd5jO1A2_k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lUbEQM_dbpNs92bmMa8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yYOqKBz5Ws_W9Ae_oZ1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gtuhNv1rNX2.U7W7v9w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5z3JvoAvqeDuZmMshYR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.qWG2JKA.9sm.Iwrk5S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r7Xi06Xq8zdJOYhgtS2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lZ4ogM1RreEWClZ5KUg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9rCdEg34PJNGtVkvGfY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GCYRFeSmC868wyBPZ8t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ImSfEyAfc_s9nXBgYX0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CGiXMdmBwYMenI3SAfO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G.a4cV56e1Kffcq0H3c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90UkYpUk.0zbegfBx8d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jsk3rP05PsCHUoVY97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mzdhSsNC.xrRuA5mWd5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eznrUnY61odyUiGgsFP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fjPRHliLeEmTZ87e6a0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sl3bW_zG0BEWVEoYYKa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YHpv5fEWmMc0ADMs23s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k721eHpOsSVO0TSvDQ3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Z2GIOKQkp_SCZZ0hIlP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nZZGAHczaNP77db5jtl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yYOqKBz5Ws_W9Ae_oZ1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jcdavlyP2KWiLdBhj6x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gtuhNv1rNX2.U7W7v9w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5z3JvoAvqeDuZmMshYR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.qWG2JKA.9sm.Iwrk5S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9rCdEg34PJNGtVkvGfY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GCYRFeSmC868wyBPZ8t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mEGIXGAe8wd5jO1A2_k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lUbEQM_dbpNs92bmMa8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ImSfEyAfc_s9nXBgYX0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lZ4ogM1RreEWClZ5KUg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NUgqWJ3lDMCjGQONF5a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AVfQvAnMZZk5QZO85o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OgDLlllDhMkHnc3NeTk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rhDcv97RDvMZkdmjXp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bCIY6DdAzdznl3KkgIP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AfThg8ym3QZezcLH1s8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Rl90wKkIYmMCLK_HNWF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QNeb870Me7ceMJqkX.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XEMbhl4veLj4ik_B0HX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tPvAw5XIi5exsP8Eep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6cSnBd4SQNW1u6F.Obv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v1WJ5PBcavXY0YIj0S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Dl90_MSJ0KyJHZYs9qu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4YU956VIdCZemhwW46N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HZnMJMULaAqJzwCRTVo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gZeSGpPUEJYt3vWmzlh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Rl90wKkIYmMCLK_HNWF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QNeb870Me7ceMJqkX.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TLOIx_6mHtLqBhnn6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kvn4zJk.phqd85eEIZ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JFne05a09488U6EPuAH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1DPjCA8zxpNEG4kTAt5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iGR8q5j9g8gyZq0Jq8z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9FZixthsFKRzvxkINE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4vk_LNaSr99z.Kks9f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Zo6__2UwTXZsVsubVk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pP373byl.A2hxUu61J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_ZsTH9dHqwmvhfovAhr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3">
      <a:majorFont>
        <a:latin typeface="Calibri Light (Headings)"/>
        <a:ea typeface=""/>
        <a:cs typeface=""/>
      </a:majorFont>
      <a:minorFont>
        <a:latin typeface="Calibri Light (Headings)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69</TotalTime>
  <Words>2086</Words>
  <Application>Microsoft Office PowerPoint</Application>
  <PresentationFormat>Widescreen</PresentationFormat>
  <Paragraphs>733</Paragraphs>
  <Slides>2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0" baseType="lpstr">
      <vt:lpstr>Calibri</vt:lpstr>
      <vt:lpstr>Proi</vt:lpstr>
      <vt:lpstr>Arial</vt:lpstr>
      <vt:lpstr>Proxima Nova</vt:lpstr>
      <vt:lpstr>Office Theme</vt:lpstr>
      <vt:lpstr>think-cell Slide</vt:lpstr>
      <vt:lpstr>Türkiye’nin Tekstil Sektöründeki Durumu</vt:lpstr>
      <vt:lpstr>PowerPoint Presentation</vt:lpstr>
      <vt:lpstr>Tekstilde 2012’de ve 2017’de yeni eklenen 2 basamaklı HS Kodları</vt:lpstr>
      <vt:lpstr>Tekstilde 2012’de ve 2017’de yeni eklenen 2 basamaklı HS Kodları</vt:lpstr>
      <vt:lpstr>Türkiye’de Tekstil Sektörünün Ticaret Hacminin Türkiye’nin Toplam Ticaret Hacmine Oranı</vt:lpstr>
      <vt:lpstr>Tekstil ürünlerinin dış ticaretteki oranı pandemi sonrasında duraksıyor</vt:lpstr>
      <vt:lpstr>Sektörün Türkiye Ticaretindeki Oranının Değişimi</vt:lpstr>
      <vt:lpstr>Tekstil ürünlerinin dış ticaretteki oranı pandemi sonrasında duraksıyor</vt:lpstr>
      <vt:lpstr>Türkiye’deki Tekstil Sektörünün İthalat ve İhracatta Yıllar İçindeki Değişimi</vt:lpstr>
      <vt:lpstr>Türkiye’nin Toplam İhracatı ve İthalatı</vt:lpstr>
      <vt:lpstr>Dünyadaki Tekstil Ticaret Hacminin Toplam Ticaret Hacmine Oranı</vt:lpstr>
      <vt:lpstr>5-) Turkiye'nin tekstilde ihracat ve ithalat.xlsx tree mapleri 6 tane (Yapamadım)</vt:lpstr>
      <vt:lpstr>6-) Dunyada tekstilde en buyuk ihracatcilar ve ithalatcilar.xlsx tree mapleri 6 tane (Yapamadım)</vt:lpstr>
      <vt:lpstr>Türkiye'nin tekstil ihracatında bulunan 2 basamaklı HS kodlarının oranları</vt:lpstr>
      <vt:lpstr>Türkiye'nin tekstil ihracatında bulunan 2 basamaklı HS kodlarının oranları</vt:lpstr>
      <vt:lpstr>Türkiye'nin tekstil ithalatında bulunan 2 basamaklı HS kodlarının oranları</vt:lpstr>
      <vt:lpstr>Türkiye'nin tekstil ihracatında bulunan başlıca 4 basamaklı HS kodlarının oranları</vt:lpstr>
      <vt:lpstr>Dünyada tekstil ticaretinde bulunan 2 basamaklı HS kodlarının oranları</vt:lpstr>
      <vt:lpstr>Eklenen yeni ürünlerin (2012’de ve 2017’de) Türkiye’deki ihracatta RCA hesabı</vt:lpstr>
      <vt:lpstr>Eklenen yeni ürünlerin (2012’de ve 2017’de) Türkiye’deki ithalatta RCA hesabı</vt:lpstr>
      <vt:lpstr>Eklenen yeni ürünlerin (2012’de ve 2017’de) Türkiye'nin tekstil ihracatındaki 2 basamaklı HS kodlarının RCA hesabı</vt:lpstr>
      <vt:lpstr>Eklenen yeni ürünlerin (2012’de ve 2017’de) Türkiye'nin tekstil ithalatındaki 2 basamaklı HS kodlarının RCA hesabı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Batuhan Yelseli</dc:creator>
  <cp:lastModifiedBy>Oğuz Öztekin</cp:lastModifiedBy>
  <cp:revision>51</cp:revision>
  <dcterms:created xsi:type="dcterms:W3CDTF">2006-08-16T00:00:00Z</dcterms:created>
  <dcterms:modified xsi:type="dcterms:W3CDTF">2024-12-17T08:53:09Z</dcterms:modified>
</cp:coreProperties>
</file>